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1.xml" ContentType="application/vnd.openxmlformats-officedocument.presentationml.notesSlide+xml"/>
  <Override PartName="/ppt/charts/chart6.xml" ContentType="application/vnd.openxmlformats-officedocument.drawingml.chart+xml"/>
  <Override PartName="/ppt/notesSlides/notesSlide2.xml" ContentType="application/vnd.openxmlformats-officedocument.presentationml.notesSlide+xml"/>
  <Override PartName="/ppt/charts/chart7.xml" ContentType="application/vnd.openxmlformats-officedocument.drawingml.chart+xml"/>
  <Override PartName="/ppt/notesSlides/notesSlide3.xml" ContentType="application/vnd.openxmlformats-officedocument.presentationml.notesSlide+xml"/>
  <Override PartName="/ppt/charts/chart8.xml" ContentType="application/vnd.openxmlformats-officedocument.drawingml.chart+xml"/>
  <Override PartName="/ppt/notesSlides/notesSlide4.xml" ContentType="application/vnd.openxmlformats-officedocument.presentationml.notesSlide+xml"/>
  <Override PartName="/ppt/charts/chart9.xml" ContentType="application/vnd.openxmlformats-officedocument.drawingml.chart+xml"/>
  <Override PartName="/ppt/notesSlides/notesSlide5.xml" ContentType="application/vnd.openxmlformats-officedocument.presentationml.notesSlide+xml"/>
  <Override PartName="/ppt/charts/chart10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bookmarkIdSeed="5">
  <p:sldMasterIdLst>
    <p:sldMasterId id="2147483814" r:id="rId1"/>
    <p:sldMasterId id="2147483828" r:id="rId2"/>
  </p:sldMasterIdLst>
  <p:notesMasterIdLst>
    <p:notesMasterId r:id="rId42"/>
  </p:notesMasterIdLst>
  <p:handoutMasterIdLst>
    <p:handoutMasterId r:id="rId43"/>
  </p:handoutMasterIdLst>
  <p:sldIdLst>
    <p:sldId id="1193" r:id="rId3"/>
    <p:sldId id="566" r:id="rId4"/>
    <p:sldId id="1273" r:id="rId5"/>
    <p:sldId id="1274" r:id="rId6"/>
    <p:sldId id="1275" r:id="rId7"/>
    <p:sldId id="1276" r:id="rId8"/>
    <p:sldId id="1277" r:id="rId9"/>
    <p:sldId id="1278" r:id="rId10"/>
    <p:sldId id="1279" r:id="rId11"/>
    <p:sldId id="1280" r:id="rId12"/>
    <p:sldId id="1281" r:id="rId13"/>
    <p:sldId id="1282" r:id="rId14"/>
    <p:sldId id="1283" r:id="rId15"/>
    <p:sldId id="1284" r:id="rId16"/>
    <p:sldId id="1269" r:id="rId17"/>
    <p:sldId id="1262" r:id="rId18"/>
    <p:sldId id="1264" r:id="rId19"/>
    <p:sldId id="1285" r:id="rId20"/>
    <p:sldId id="1333" r:id="rId21"/>
    <p:sldId id="1334" r:id="rId22"/>
    <p:sldId id="1117" r:id="rId23"/>
    <p:sldId id="1191" r:id="rId24"/>
    <p:sldId id="258" r:id="rId25"/>
    <p:sldId id="630" r:id="rId26"/>
    <p:sldId id="1310" r:id="rId27"/>
    <p:sldId id="1318" r:id="rId28"/>
    <p:sldId id="1330" r:id="rId29"/>
    <p:sldId id="260" r:id="rId30"/>
    <p:sldId id="714" r:id="rId31"/>
    <p:sldId id="261" r:id="rId32"/>
    <p:sldId id="691" r:id="rId33"/>
    <p:sldId id="675" r:id="rId34"/>
    <p:sldId id="658" r:id="rId35"/>
    <p:sldId id="1186" r:id="rId36"/>
    <p:sldId id="393" r:id="rId37"/>
    <p:sldId id="1169" r:id="rId38"/>
    <p:sldId id="1171" r:id="rId39"/>
    <p:sldId id="1335" r:id="rId40"/>
    <p:sldId id="1192" r:id="rId41"/>
  </p:sldIdLst>
  <p:sldSz cx="12192000" cy="6858000"/>
  <p:notesSz cx="6761163" cy="9942513"/>
  <p:embeddedFontLst>
    <p:embeddedFont>
      <p:font typeface="Arial Narrow" panose="020B0606020202030204" pitchFamily="34" charset="0"/>
      <p:regular r:id="rId44"/>
      <p:bold r:id="rId45"/>
      <p:italic r:id="rId46"/>
      <p:boldItalic r:id="rId47"/>
    </p:embeddedFont>
    <p:embeddedFont>
      <p:font typeface="Calibri" panose="020F0502020204030204" pitchFamily="34" charset="0"/>
      <p:regular r:id="rId48"/>
      <p:bold r:id="rId49"/>
      <p:italic r:id="rId50"/>
      <p:boldItalic r:id="rId51"/>
    </p:embeddedFont>
    <p:embeddedFont>
      <p:font typeface="Calibri Light" panose="020F0302020204030204" pitchFamily="34" charset="0"/>
      <p:regular r:id="rId52"/>
      <p:italic r:id="rId53"/>
    </p:embeddedFont>
    <p:embeddedFont>
      <p:font typeface="Circe" panose="020B0604020202020204" charset="0"/>
      <p:regular r:id="rId54"/>
      <p:bold r:id="rId55"/>
      <p:italic r:id="rId56"/>
      <p:boldItalic r:id="rId57"/>
    </p:embeddedFont>
    <p:embeddedFont>
      <p:font typeface="Circe Bold" panose="020B0604020202020204" charset="0"/>
      <p:regular r:id="rId58"/>
      <p:bold r:id="rId59"/>
      <p:italic r:id="rId60"/>
      <p:boldItalic r:id="rId61"/>
    </p:embeddedFont>
    <p:embeddedFont>
      <p:font typeface="Circe Light" panose="020B0604020202020204" charset="0"/>
      <p:regular r:id="rId62"/>
      <p:bold r:id="rId63"/>
      <p:italic r:id="rId64"/>
      <p:boldItalic r:id="rId65"/>
    </p:embeddedFont>
    <p:embeddedFont>
      <p:font typeface="Helvetica" panose="020B0604020202020204" pitchFamily="34" charset="0"/>
      <p:regular r:id="rId66"/>
      <p:bold r:id="rId67"/>
      <p:italic r:id="rId68"/>
      <p:boldItalic r:id="rId69"/>
    </p:embeddedFont>
    <p:embeddedFont>
      <p:font typeface="PT Serif" panose="020A0603040505020204" pitchFamily="18" charset="-52"/>
      <p:regular r:id="rId70"/>
      <p:bold r:id="rId71"/>
      <p:italic r:id="rId72"/>
      <p:boldItalic r:id="rId73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E0E4501-682E-CAB0-B913-1EEA4E4BBF10}" name="Собина Егор Павлович" initials="СЕП" userId="S-1-5-21-1113718286-1753292368-219596579-123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Собина Егор Павлович" initials="СЕП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4E6B"/>
    <a:srgbClr val="E1F7FF"/>
    <a:srgbClr val="ABE9FF"/>
    <a:srgbClr val="CCFFFF"/>
    <a:srgbClr val="0099CC"/>
    <a:srgbClr val="CCECFF"/>
    <a:srgbClr val="CCCCFF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2838BEF-8BB2-4498-84A7-C5851F593DF1}" styleName="Средний стиль 4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173" autoAdjust="0"/>
    <p:restoredTop sz="89123" autoAdjust="0"/>
  </p:normalViewPr>
  <p:slideViewPr>
    <p:cSldViewPr>
      <p:cViewPr varScale="1">
        <p:scale>
          <a:sx n="99" d="100"/>
          <a:sy n="99" d="100"/>
        </p:scale>
        <p:origin x="1110" y="9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>
      <p:cViewPr varScale="1">
        <p:scale>
          <a:sx n="78" d="100"/>
          <a:sy n="78" d="100"/>
        </p:scale>
        <p:origin x="3030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notesMaster" Target="notesMasters/notesMaster1.xml"/><Relationship Id="rId47" Type="http://schemas.openxmlformats.org/officeDocument/2006/relationships/font" Target="fonts/font4.fntdata"/><Relationship Id="rId63" Type="http://schemas.openxmlformats.org/officeDocument/2006/relationships/font" Target="fonts/font20.fntdata"/><Relationship Id="rId68" Type="http://schemas.openxmlformats.org/officeDocument/2006/relationships/font" Target="fonts/font25.fntdata"/><Relationship Id="rId16" Type="http://schemas.openxmlformats.org/officeDocument/2006/relationships/slide" Target="slides/slide1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font" Target="fonts/font2.fntdata"/><Relationship Id="rId53" Type="http://schemas.openxmlformats.org/officeDocument/2006/relationships/font" Target="fonts/font10.fntdata"/><Relationship Id="rId58" Type="http://schemas.openxmlformats.org/officeDocument/2006/relationships/font" Target="fonts/font15.fntdata"/><Relationship Id="rId66" Type="http://schemas.openxmlformats.org/officeDocument/2006/relationships/font" Target="fonts/font23.fntdata"/><Relationship Id="rId74" Type="http://schemas.openxmlformats.org/officeDocument/2006/relationships/commentAuthors" Target="commentAuthors.xml"/><Relationship Id="rId79" Type="http://schemas.microsoft.com/office/2018/10/relationships/authors" Target="authors.xml"/><Relationship Id="rId5" Type="http://schemas.openxmlformats.org/officeDocument/2006/relationships/slide" Target="slides/slide3.xml"/><Relationship Id="rId61" Type="http://schemas.openxmlformats.org/officeDocument/2006/relationships/font" Target="fonts/font18.fntdata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handoutMaster" Target="handoutMasters/handoutMaster1.xml"/><Relationship Id="rId48" Type="http://schemas.openxmlformats.org/officeDocument/2006/relationships/font" Target="fonts/font5.fntdata"/><Relationship Id="rId56" Type="http://schemas.openxmlformats.org/officeDocument/2006/relationships/font" Target="fonts/font13.fntdata"/><Relationship Id="rId64" Type="http://schemas.openxmlformats.org/officeDocument/2006/relationships/font" Target="fonts/font21.fntdata"/><Relationship Id="rId69" Type="http://schemas.openxmlformats.org/officeDocument/2006/relationships/font" Target="fonts/font26.fntdata"/><Relationship Id="rId77" Type="http://schemas.openxmlformats.org/officeDocument/2006/relationships/theme" Target="theme/theme1.xml"/><Relationship Id="rId8" Type="http://schemas.openxmlformats.org/officeDocument/2006/relationships/slide" Target="slides/slide6.xml"/><Relationship Id="rId51" Type="http://schemas.openxmlformats.org/officeDocument/2006/relationships/font" Target="fonts/font8.fntdata"/><Relationship Id="rId72" Type="http://schemas.openxmlformats.org/officeDocument/2006/relationships/font" Target="fonts/font29.fntdata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font" Target="fonts/font3.fntdata"/><Relationship Id="rId59" Type="http://schemas.openxmlformats.org/officeDocument/2006/relationships/font" Target="fonts/font16.fntdata"/><Relationship Id="rId67" Type="http://schemas.openxmlformats.org/officeDocument/2006/relationships/font" Target="fonts/font24.fntdata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font" Target="fonts/font11.fntdata"/><Relationship Id="rId62" Type="http://schemas.openxmlformats.org/officeDocument/2006/relationships/font" Target="fonts/font19.fntdata"/><Relationship Id="rId70" Type="http://schemas.openxmlformats.org/officeDocument/2006/relationships/font" Target="fonts/font27.fntdata"/><Relationship Id="rId75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font" Target="fonts/font6.fntdata"/><Relationship Id="rId57" Type="http://schemas.openxmlformats.org/officeDocument/2006/relationships/font" Target="fonts/font14.fntdata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font" Target="fonts/font1.fntdata"/><Relationship Id="rId52" Type="http://schemas.openxmlformats.org/officeDocument/2006/relationships/font" Target="fonts/font9.fntdata"/><Relationship Id="rId60" Type="http://schemas.openxmlformats.org/officeDocument/2006/relationships/font" Target="fonts/font17.fntdata"/><Relationship Id="rId65" Type="http://schemas.openxmlformats.org/officeDocument/2006/relationships/font" Target="fonts/font22.fntdata"/><Relationship Id="rId73" Type="http://schemas.openxmlformats.org/officeDocument/2006/relationships/font" Target="fonts/font30.fntdata"/><Relationship Id="rId78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font" Target="fonts/font7.fntdata"/><Relationship Id="rId55" Type="http://schemas.openxmlformats.org/officeDocument/2006/relationships/font" Target="fonts/font12.fntdata"/><Relationship Id="rId76" Type="http://schemas.openxmlformats.org/officeDocument/2006/relationships/viewProps" Target="viewProps.xml"/><Relationship Id="rId7" Type="http://schemas.openxmlformats.org/officeDocument/2006/relationships/slide" Target="slides/slide5.xml"/><Relationship Id="rId71" Type="http://schemas.openxmlformats.org/officeDocument/2006/relationships/font" Target="fonts/font28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user\Documents\&#1052;&#1086;&#1080;%20&#1076;&#1086;&#1082;&#1091;&#1084;&#1077;&#1085;&#1090;&#1099;\&#1041;&#1044;%20&#1043;&#1057;&#1054;\&#1054;&#1090;&#1095;&#1077;&#1090;&#1099;\&#1054;&#1090;&#1095;&#1077;&#1090;-2016\&#1054;&#1090;&#1095;&#1077;&#1090;-2016.xlsx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user\Documents\&#1052;&#1086;&#1080;%20&#1076;&#1086;&#1082;&#1091;&#1084;&#1077;&#1085;&#1090;&#1099;\&#1041;&#1044;%20&#1043;&#1057;&#1054;\&#1055;&#1088;&#1077;&#1079;&#1077;&#1085;&#1090;&#1072;&#1094;&#1080;&#1103;%20&#1085;&#1077;&#1092;&#1090;&#1100;%20+%20&#1082;&#1086;&#1085;&#1092;&#1077;&#1088;&#1077;&#1085;&#1094;&#1080;&#1103;\&#1050;&#1085;&#1080;&#1075;&#1072;1-2018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user\Documents\&#1052;&#1086;&#1080;%20&#1076;&#1086;&#1082;&#1091;&#1084;&#1077;&#1085;&#1090;&#1099;\&#1041;&#1044;%20&#1043;&#1057;&#1054;\&#1054;&#1090;&#1095;&#1077;&#1090;&#1099;\&#1054;&#1090;&#1095;&#1077;&#1090;-2019\&#1054;&#1090;&#1095;&#1077;&#1090;-2019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user\Documents\&#1052;&#1086;&#1080;%20&#1076;&#1086;&#1082;&#1091;&#1084;&#1077;&#1085;&#1090;&#1099;\&#1041;&#1044;%20&#1043;&#1057;&#1054;\&#1054;&#1090;&#1095;&#1077;&#1090;&#1099;\&#1054;&#1090;&#1095;&#1077;&#1090;-2016\&#1054;&#1090;&#1095;&#1077;&#1090;-2016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user\Documents\&#1052;&#1086;&#1080;%20&#1076;&#1086;&#1082;&#1091;&#1084;&#1077;&#1085;&#1090;&#1099;\&#1041;&#1044;%20&#1043;&#1057;&#1054;\&#1055;&#1088;&#1077;&#1079;&#1077;&#1085;&#1090;&#1072;&#1094;&#1080;&#1103;%20&#1084;&#1077;&#1090;&#1090;&#1072;&#1083;&#1083;&#1091;&#1088;&#1075;&#1080;&#1103;%20-2020\&#1050;&#1085;&#1080;&#1075;&#1072;1-%20&#1085;&#1086;&#1084;&#1077;&#1085;&#1082;&#1083;&#1072;&#1090;&#1091;&#1088;&#1072;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user\Documents\&#1052;&#1086;&#1080;%20&#1076;&#1086;&#1082;&#1091;&#1084;&#1077;&#1085;&#1090;&#1099;\&#1041;&#1044;%20&#1043;&#1057;&#1054;\&#1055;&#1088;&#1077;&#1079;&#1077;&#1085;&#1090;&#1072;&#1094;&#1080;&#1103;%20&#1084;&#1077;&#1090;&#1090;&#1072;&#1083;&#1083;&#1091;&#1088;&#1075;&#1080;&#1103;%20-2020\&#1050;&#1085;&#1080;&#1075;&#1072;1-%20&#1085;&#1086;&#1084;&#1077;&#1085;&#1082;&#1083;&#1072;&#1090;&#1091;&#1088;&#1072;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user\Documents\&#1052;&#1086;&#1080;%20&#1076;&#1086;&#1082;&#1091;&#1084;&#1077;&#1085;&#1090;&#1099;\&#1041;&#1044;%20&#1043;&#1057;&#1054;\&#1055;&#1088;&#1077;&#1079;&#1077;&#1085;&#1090;&#1072;&#1094;&#1080;&#1103;%20&#1085;&#1077;&#1092;&#1090;&#1100;%20+%20&#1082;&#1086;&#1085;&#1092;&#1077;&#1088;&#1077;&#1085;&#1094;&#1080;&#1103;\&#1050;&#1085;&#1080;&#1075;&#1072;1-2018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user\Documents\&#1052;&#1086;&#1080;%20&#1076;&#1086;&#1082;&#1091;&#1084;&#1077;&#1085;&#1090;&#1099;\&#1041;&#1044;%20&#1043;&#1057;&#1054;\&#1055;&#1088;&#1077;&#1079;&#1077;&#1085;&#1090;&#1072;&#1094;&#1080;&#1103;%20&#1085;&#1077;&#1092;&#1090;&#1100;%20+%20&#1082;&#1086;&#1085;&#1092;&#1077;&#1088;&#1077;&#1085;&#1094;&#1080;&#1103;\&#1050;&#1085;&#1080;&#1075;&#1072;1-2018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user\Documents\&#1052;&#1086;&#1080;%20&#1076;&#1086;&#1082;&#1091;&#1084;&#1077;&#1085;&#1090;&#1099;\&#1041;&#1044;%20&#1043;&#1057;&#1054;\&#1055;&#1088;&#1077;&#1079;&#1077;&#1085;&#1090;&#1072;&#1094;&#1080;&#1103;%20&#1085;&#1077;&#1092;&#1090;&#1100;%20+%20&#1082;&#1086;&#1085;&#1092;&#1077;&#1088;&#1077;&#1085;&#1094;&#1080;&#1103;\&#1050;&#1085;&#1080;&#1075;&#1072;1-2018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user\Documents\&#1052;&#1086;&#1080;%20&#1076;&#1086;&#1082;&#1091;&#1084;&#1077;&#1085;&#1090;&#1099;\&#1041;&#1044;%20&#1043;&#1057;&#1054;\&#1055;&#1088;&#1077;&#1079;&#1077;&#1085;&#1090;&#1072;&#1094;&#1080;&#1103;%20&#1085;&#1077;&#1092;&#1090;&#1100;%20+%20&#1082;&#1086;&#1085;&#1092;&#1077;&#1088;&#1077;&#1085;&#1094;&#1080;&#1103;\&#1050;&#1085;&#1080;&#1075;&#1072;1-2018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8"/>
    </mc:Choice>
    <mc:Fallback>
      <c:style val="28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703712925212407E-2"/>
          <c:y val="1.6180461779916163E-2"/>
          <c:w val="0.96056931027951398"/>
          <c:h val="0.83045566888638023"/>
        </c:manualLayout>
      </c:layout>
      <c:barChart>
        <c:barDir val="col"/>
        <c:grouping val="clustered"/>
        <c:varyColors val="0"/>
        <c:ser>
          <c:idx val="1"/>
          <c:order val="0"/>
          <c:spPr>
            <a:solidFill>
              <a:schemeClr val="accent1"/>
            </a:solidFill>
          </c:spPr>
          <c:invertIfNegative val="0"/>
          <c:dPt>
            <c:idx val="4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3C-41A6-87AE-47EE5E210D37}"/>
              </c:ext>
            </c:extLst>
          </c:dPt>
          <c:dLbls>
            <c:dLbl>
              <c:idx val="1"/>
              <c:layout>
                <c:manualLayout>
                  <c:x val="0"/>
                  <c:y val="-9.111617312072892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C3C-41A6-87AE-47EE5E210D37}"/>
                </c:ext>
              </c:extLst>
            </c:dLbl>
            <c:dLbl>
              <c:idx val="2"/>
              <c:layout>
                <c:manualLayout>
                  <c:x val="0"/>
                  <c:y val="6.074411541381928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C3C-41A6-87AE-47EE5E210D37}"/>
                </c:ext>
              </c:extLst>
            </c:dLbl>
            <c:dLbl>
              <c:idx val="19"/>
              <c:layout>
                <c:manualLayout>
                  <c:x val="-4.166666666666666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C3C-41A6-87AE-47EE5E210D37}"/>
                </c:ext>
              </c:extLst>
            </c:dLbl>
            <c:dLbl>
              <c:idx val="20"/>
              <c:layout>
                <c:manualLayout>
                  <c:x val="1.2671697287839071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C3C-41A6-87AE-47EE5E210D37}"/>
                </c:ext>
              </c:extLst>
            </c:dLbl>
            <c:dLbl>
              <c:idx val="40"/>
              <c:layout>
                <c:manualLayout>
                  <c:x val="0"/>
                  <c:y val="9.111617312072892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C3C-41A6-87AE-47EE5E210D3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56</c:f>
              <c:numCache>
                <c:formatCode>General</c:formatCode>
                <c:ptCount val="55"/>
                <c:pt idx="0">
                  <c:v>1970</c:v>
                </c:pt>
                <c:pt idx="1">
                  <c:v>1971</c:v>
                </c:pt>
                <c:pt idx="2">
                  <c:v>1972</c:v>
                </c:pt>
                <c:pt idx="3">
                  <c:v>1973</c:v>
                </c:pt>
                <c:pt idx="4">
                  <c:v>1974</c:v>
                </c:pt>
                <c:pt idx="5">
                  <c:v>1975</c:v>
                </c:pt>
                <c:pt idx="6">
                  <c:v>1976</c:v>
                </c:pt>
                <c:pt idx="7">
                  <c:v>1977</c:v>
                </c:pt>
                <c:pt idx="8">
                  <c:v>1978</c:v>
                </c:pt>
                <c:pt idx="9">
                  <c:v>1979</c:v>
                </c:pt>
                <c:pt idx="10">
                  <c:v>1980</c:v>
                </c:pt>
                <c:pt idx="11">
                  <c:v>1981</c:v>
                </c:pt>
                <c:pt idx="12">
                  <c:v>1982</c:v>
                </c:pt>
                <c:pt idx="13">
                  <c:v>1983</c:v>
                </c:pt>
                <c:pt idx="14">
                  <c:v>1984</c:v>
                </c:pt>
                <c:pt idx="15">
                  <c:v>1985</c:v>
                </c:pt>
                <c:pt idx="16">
                  <c:v>1986</c:v>
                </c:pt>
                <c:pt idx="17">
                  <c:v>1987</c:v>
                </c:pt>
                <c:pt idx="18">
                  <c:v>1988</c:v>
                </c:pt>
                <c:pt idx="19">
                  <c:v>1989</c:v>
                </c:pt>
                <c:pt idx="20">
                  <c:v>1990</c:v>
                </c:pt>
                <c:pt idx="21">
                  <c:v>1991</c:v>
                </c:pt>
                <c:pt idx="22">
                  <c:v>1992</c:v>
                </c:pt>
                <c:pt idx="23">
                  <c:v>1993</c:v>
                </c:pt>
                <c:pt idx="24">
                  <c:v>1994</c:v>
                </c:pt>
                <c:pt idx="25">
                  <c:v>1995</c:v>
                </c:pt>
                <c:pt idx="26">
                  <c:v>1996</c:v>
                </c:pt>
                <c:pt idx="27">
                  <c:v>1997</c:v>
                </c:pt>
                <c:pt idx="28">
                  <c:v>1998</c:v>
                </c:pt>
                <c:pt idx="29">
                  <c:v>1999</c:v>
                </c:pt>
                <c:pt idx="30">
                  <c:v>2000</c:v>
                </c:pt>
                <c:pt idx="31">
                  <c:v>2001</c:v>
                </c:pt>
                <c:pt idx="32">
                  <c:v>2002</c:v>
                </c:pt>
                <c:pt idx="33">
                  <c:v>2003</c:v>
                </c:pt>
                <c:pt idx="34">
                  <c:v>2004</c:v>
                </c:pt>
                <c:pt idx="35">
                  <c:v>2005</c:v>
                </c:pt>
                <c:pt idx="36">
                  <c:v>2006</c:v>
                </c:pt>
                <c:pt idx="37">
                  <c:v>2007</c:v>
                </c:pt>
                <c:pt idx="38">
                  <c:v>2008</c:v>
                </c:pt>
                <c:pt idx="39">
                  <c:v>2009</c:v>
                </c:pt>
                <c:pt idx="40">
                  <c:v>2010</c:v>
                </c:pt>
                <c:pt idx="41">
                  <c:v>2011</c:v>
                </c:pt>
                <c:pt idx="42">
                  <c:v>2012</c:v>
                </c:pt>
                <c:pt idx="43">
                  <c:v>2013</c:v>
                </c:pt>
                <c:pt idx="44">
                  <c:v>2014</c:v>
                </c:pt>
                <c:pt idx="45">
                  <c:v>2015</c:v>
                </c:pt>
                <c:pt idx="46">
                  <c:v>2016</c:v>
                </c:pt>
                <c:pt idx="47">
                  <c:v>2017</c:v>
                </c:pt>
                <c:pt idx="48">
                  <c:v>2018</c:v>
                </c:pt>
                <c:pt idx="49">
                  <c:v>2019</c:v>
                </c:pt>
                <c:pt idx="50">
                  <c:v>2020</c:v>
                </c:pt>
                <c:pt idx="51">
                  <c:v>2021</c:v>
                </c:pt>
                <c:pt idx="52">
                  <c:v>2022</c:v>
                </c:pt>
                <c:pt idx="53">
                  <c:v>2023</c:v>
                </c:pt>
                <c:pt idx="54">
                  <c:v>2024</c:v>
                </c:pt>
              </c:numCache>
            </c:numRef>
          </c:cat>
          <c:val>
            <c:numRef>
              <c:f>Лист1!$B$2:$B$56</c:f>
              <c:numCache>
                <c:formatCode>General</c:formatCode>
                <c:ptCount val="55"/>
                <c:pt idx="0">
                  <c:v>67</c:v>
                </c:pt>
                <c:pt idx="1">
                  <c:v>110</c:v>
                </c:pt>
                <c:pt idx="2">
                  <c:v>115</c:v>
                </c:pt>
                <c:pt idx="3">
                  <c:v>135</c:v>
                </c:pt>
                <c:pt idx="4">
                  <c:v>185</c:v>
                </c:pt>
                <c:pt idx="5">
                  <c:v>169</c:v>
                </c:pt>
                <c:pt idx="6">
                  <c:v>317</c:v>
                </c:pt>
                <c:pt idx="7">
                  <c:v>204</c:v>
                </c:pt>
                <c:pt idx="8">
                  <c:v>228</c:v>
                </c:pt>
                <c:pt idx="9">
                  <c:v>243</c:v>
                </c:pt>
                <c:pt idx="10">
                  <c:v>310</c:v>
                </c:pt>
                <c:pt idx="11">
                  <c:v>241</c:v>
                </c:pt>
                <c:pt idx="12">
                  <c:v>450</c:v>
                </c:pt>
                <c:pt idx="13">
                  <c:v>413</c:v>
                </c:pt>
                <c:pt idx="14">
                  <c:v>286</c:v>
                </c:pt>
                <c:pt idx="15">
                  <c:v>260</c:v>
                </c:pt>
                <c:pt idx="16">
                  <c:v>353</c:v>
                </c:pt>
                <c:pt idx="17">
                  <c:v>713</c:v>
                </c:pt>
                <c:pt idx="18">
                  <c:v>288</c:v>
                </c:pt>
                <c:pt idx="19">
                  <c:v>784</c:v>
                </c:pt>
                <c:pt idx="20">
                  <c:v>779</c:v>
                </c:pt>
                <c:pt idx="21">
                  <c:v>597</c:v>
                </c:pt>
                <c:pt idx="22">
                  <c:v>295</c:v>
                </c:pt>
                <c:pt idx="23">
                  <c:v>344</c:v>
                </c:pt>
                <c:pt idx="24">
                  <c:v>137</c:v>
                </c:pt>
                <c:pt idx="25">
                  <c:v>82</c:v>
                </c:pt>
                <c:pt idx="26">
                  <c:v>133</c:v>
                </c:pt>
                <c:pt idx="27">
                  <c:v>76</c:v>
                </c:pt>
                <c:pt idx="28">
                  <c:v>89</c:v>
                </c:pt>
                <c:pt idx="29">
                  <c:v>233</c:v>
                </c:pt>
                <c:pt idx="30">
                  <c:v>128</c:v>
                </c:pt>
                <c:pt idx="31">
                  <c:v>98</c:v>
                </c:pt>
                <c:pt idx="32">
                  <c:v>155</c:v>
                </c:pt>
                <c:pt idx="33">
                  <c:v>180</c:v>
                </c:pt>
                <c:pt idx="34">
                  <c:v>141</c:v>
                </c:pt>
                <c:pt idx="35">
                  <c:v>84</c:v>
                </c:pt>
                <c:pt idx="36">
                  <c:v>124</c:v>
                </c:pt>
                <c:pt idx="37">
                  <c:v>72</c:v>
                </c:pt>
                <c:pt idx="38">
                  <c:v>361</c:v>
                </c:pt>
                <c:pt idx="39">
                  <c:v>228</c:v>
                </c:pt>
                <c:pt idx="40">
                  <c:v>223</c:v>
                </c:pt>
                <c:pt idx="41">
                  <c:v>326</c:v>
                </c:pt>
                <c:pt idx="42">
                  <c:v>112</c:v>
                </c:pt>
                <c:pt idx="43">
                  <c:v>217</c:v>
                </c:pt>
                <c:pt idx="44">
                  <c:v>160</c:v>
                </c:pt>
                <c:pt idx="45">
                  <c:v>190</c:v>
                </c:pt>
                <c:pt idx="46">
                  <c:v>133</c:v>
                </c:pt>
                <c:pt idx="47">
                  <c:v>148</c:v>
                </c:pt>
                <c:pt idx="48">
                  <c:v>246</c:v>
                </c:pt>
                <c:pt idx="49">
                  <c:v>219</c:v>
                </c:pt>
                <c:pt idx="50">
                  <c:v>188</c:v>
                </c:pt>
                <c:pt idx="51">
                  <c:v>199</c:v>
                </c:pt>
                <c:pt idx="52">
                  <c:v>235</c:v>
                </c:pt>
                <c:pt idx="53">
                  <c:v>301</c:v>
                </c:pt>
                <c:pt idx="54">
                  <c:v>3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C3C-41A6-87AE-47EE5E210D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4425216"/>
        <c:axId val="134640384"/>
      </c:barChart>
      <c:catAx>
        <c:axId val="134425216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ru-RU"/>
                  <a:t>Годы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134640384"/>
        <c:crosses val="autoZero"/>
        <c:auto val="1"/>
        <c:lblAlgn val="ctr"/>
        <c:lblOffset val="100"/>
        <c:noMultiLvlLbl val="0"/>
      </c:catAx>
      <c:valAx>
        <c:axId val="134640384"/>
        <c:scaling>
          <c:orientation val="minMax"/>
          <c:max val="800"/>
        </c:scaling>
        <c:delete val="1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/>
                  <a:t>Количество типов СО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crossAx val="13442521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30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61:$A$62</c:f>
              <c:strCache>
                <c:ptCount val="2"/>
                <c:pt idx="0">
                  <c:v>Использование государственных эталонов – 227 типов СО</c:v>
                </c:pt>
                <c:pt idx="1">
                  <c:v>Применение аттестованных методик измерений – 2 типа СО</c:v>
                </c:pt>
              </c:strCache>
            </c:strRef>
          </c:cat>
          <c:val>
            <c:numRef>
              <c:f>Лист1!$B$61:$B$62</c:f>
              <c:numCache>
                <c:formatCode>General</c:formatCode>
                <c:ptCount val="2"/>
                <c:pt idx="0">
                  <c:v>227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04-4C31-9BCE-61045273BB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>
        <c:manualLayout>
          <c:xMode val="edge"/>
          <c:yMode val="edge"/>
          <c:x val="0.66914092878569043"/>
          <c:y val="0.2692216016402218"/>
          <c:w val="0.31738641694132752"/>
          <c:h val="0.40062922301562448"/>
        </c:manualLayout>
      </c:layout>
      <c:overlay val="0"/>
      <c:txPr>
        <a:bodyPr/>
        <a:lstStyle/>
        <a:p>
          <a:pPr>
            <a:defRPr sz="1400" b="1">
              <a:latin typeface="Arial" panose="020B060402020202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0997375328083989"/>
          <c:y val="5.2631578947368418E-2"/>
          <c:w val="0.58005249343832022"/>
          <c:h val="0.8947368421052631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C582-43E1-88B8-2BABAD0C383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C582-43E1-88B8-2BABAD0C3837}"/>
              </c:ext>
            </c:extLst>
          </c:dPt>
          <c:dPt>
            <c:idx val="2"/>
            <c:bubble3D val="0"/>
            <c:spPr>
              <a:solidFill>
                <a:schemeClr val="hlink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C582-43E1-88B8-2BABAD0C3837}"/>
              </c:ext>
            </c:extLst>
          </c:dPt>
          <c:dPt>
            <c:idx val="3"/>
            <c:bubble3D val="0"/>
            <c:spPr>
              <a:solidFill>
                <a:schemeClr val="folHlink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C582-43E1-88B8-2BABAD0C3837}"/>
              </c:ext>
            </c:extLst>
          </c:dPt>
          <c:dPt>
            <c:idx val="4"/>
            <c:bubble3D val="0"/>
            <c:spPr>
              <a:solidFill>
                <a:schemeClr val="bg2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C582-43E1-88B8-2BABAD0C3837}"/>
              </c:ext>
            </c:extLst>
          </c:dPt>
          <c:dPt>
            <c:idx val="5"/>
            <c:bubble3D val="0"/>
            <c:spPr>
              <a:solidFill>
                <a:schemeClr val="tx2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C582-43E1-88B8-2BABAD0C3837}"/>
              </c:ext>
            </c:extLst>
          </c:dPt>
          <c:dPt>
            <c:idx val="6"/>
            <c:bubble3D val="0"/>
            <c:spPr>
              <a:solidFill>
                <a:schemeClr val="accent1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C582-43E1-88B8-2BABAD0C3837}"/>
              </c:ext>
            </c:extLst>
          </c:dPt>
          <c:dLbls>
            <c:dLbl>
              <c:idx val="2"/>
              <c:layout>
                <c:manualLayout>
                  <c:x val="-2.6246719160104987E-3"/>
                  <c:y val="2.631578947368420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Circe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582-43E1-88B8-2BABAD0C3837}"/>
                </c:ext>
              </c:extLst>
            </c:dLbl>
            <c:dLbl>
              <c:idx val="3"/>
              <c:layout>
                <c:manualLayout>
                  <c:x val="-3.937007874015748E-3"/>
                  <c:y val="3.036437246963562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Circe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C582-43E1-88B8-2BABAD0C3837}"/>
                </c:ext>
              </c:extLst>
            </c:dLbl>
            <c:dLbl>
              <c:idx val="4"/>
              <c:layout>
                <c:manualLayout>
                  <c:x val="-1.1811023622047244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Circe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C582-43E1-88B8-2BABAD0C3837}"/>
                </c:ext>
              </c:extLst>
            </c:dLbl>
            <c:dLbl>
              <c:idx val="6"/>
              <c:layout>
                <c:manualLayout>
                  <c:x val="6.5616797900262466E-4"/>
                  <c:y val="-2.024291497975708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Circe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C582-43E1-88B8-2BABAD0C383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7</c:f>
              <c:numCache>
                <c:formatCode>General</c:formatCode>
                <c:ptCount val="7"/>
                <c:pt idx="0">
                  <c:v>22</c:v>
                </c:pt>
                <c:pt idx="1">
                  <c:v>17</c:v>
                </c:pt>
                <c:pt idx="2">
                  <c:v>9</c:v>
                </c:pt>
                <c:pt idx="3">
                  <c:v>9</c:v>
                </c:pt>
                <c:pt idx="4">
                  <c:v>7.0000000000000009</c:v>
                </c:pt>
                <c:pt idx="5">
                  <c:v>5</c:v>
                </c:pt>
                <c:pt idx="6">
                  <c:v>14.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C582-43E1-88B8-2BABAD0C38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2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241545893719805E-2"/>
          <c:y val="5.0241545893719805E-2"/>
          <c:w val="0.89951690821256036"/>
          <c:h val="0.8995169082125603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DFE5E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E652-4952-AE15-5D930D035D75}"/>
              </c:ext>
            </c:extLst>
          </c:dPt>
          <c:dPt>
            <c:idx val="1"/>
            <c:bubble3D val="0"/>
            <c:spPr>
              <a:solidFill>
                <a:srgbClr val="C3CFE1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E652-4952-AE15-5D930D035D75}"/>
              </c:ext>
            </c:extLst>
          </c:dPt>
          <c:dPt>
            <c:idx val="2"/>
            <c:bubble3D val="0"/>
            <c:spPr>
              <a:solidFill>
                <a:srgbClr val="9DB1C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E652-4952-AE15-5D930D035D75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41</c:v>
                </c:pt>
                <c:pt idx="1">
                  <c:v>55.000000000000007</c:v>
                </c:pt>
                <c:pt idx="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652-4952-AE15-5D930D035D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7"/>
        <c:holeSize val="58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185645272601795"/>
          <c:y val="5.2156469408224673E-2"/>
          <c:w val="0.61628709454796415"/>
          <c:h val="0.8956870611835506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DFE5E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1747-4A39-8603-69812EC7A306}"/>
              </c:ext>
            </c:extLst>
          </c:dPt>
          <c:dPt>
            <c:idx val="1"/>
            <c:bubble3D val="0"/>
            <c:spPr>
              <a:solidFill>
                <a:srgbClr val="C3CFE1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1747-4A39-8603-69812EC7A306}"/>
              </c:ext>
            </c:extLst>
          </c:dPt>
          <c:dPt>
            <c:idx val="2"/>
            <c:bubble3D val="0"/>
            <c:spPr>
              <a:solidFill>
                <a:srgbClr val="9DB1C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1747-4A39-8603-69812EC7A306}"/>
              </c:ext>
            </c:extLst>
          </c:dPt>
          <c:dPt>
            <c:idx val="3"/>
            <c:bubble3D val="0"/>
            <c:spPr>
              <a:solidFill>
                <a:srgbClr val="6F8DB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1747-4A39-8603-69812EC7A306}"/>
              </c:ext>
            </c:extLst>
          </c:dPt>
          <c:dPt>
            <c:idx val="4"/>
            <c:bubble3D val="0"/>
            <c:spPr>
              <a:solidFill>
                <a:srgbClr val="4C6C9C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1747-4A39-8603-69812EC7A306}"/>
              </c:ext>
            </c:extLst>
          </c:dPt>
          <c:dPt>
            <c:idx val="5"/>
            <c:bubble3D val="0"/>
            <c:spPr>
              <a:solidFill>
                <a:srgbClr val="364D6E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1747-4A39-8603-69812EC7A306}"/>
              </c:ext>
            </c:extLst>
          </c:dPt>
          <c:dLbls>
            <c:dLbl>
              <c:idx val="1"/>
              <c:layout>
                <c:manualLayout>
                  <c:x val="6.9013112491373362E-4"/>
                  <c:y val="-2.006018054162487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747-4A39-8603-69812EC7A306}"/>
                </c:ext>
              </c:extLst>
            </c:dLbl>
            <c:dLbl>
              <c:idx val="2"/>
              <c:layout>
                <c:manualLayout>
                  <c:x val="1.3802622498274672E-3"/>
                  <c:y val="2.006018054162487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747-4A39-8603-69812EC7A306}"/>
                </c:ext>
              </c:extLst>
            </c:dLbl>
            <c:dLbl>
              <c:idx val="3"/>
              <c:layout>
                <c:manualLayout>
                  <c:x val="3.450655624568668E-3"/>
                  <c:y val="-8.024072216649949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747-4A39-8603-69812EC7A306}"/>
                </c:ext>
              </c:extLst>
            </c:dLbl>
            <c:dLbl>
              <c:idx val="4"/>
              <c:layout>
                <c:manualLayout>
                  <c:x val="-8.2815734989648039E-3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747-4A39-8603-69812EC7A30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6</c:f>
              <c:numCache>
                <c:formatCode>General</c:formatCode>
                <c:ptCount val="6"/>
                <c:pt idx="0">
                  <c:v>34</c:v>
                </c:pt>
                <c:pt idx="1">
                  <c:v>9</c:v>
                </c:pt>
                <c:pt idx="2">
                  <c:v>10</c:v>
                </c:pt>
                <c:pt idx="3">
                  <c:v>14.000000000000002</c:v>
                </c:pt>
                <c:pt idx="4">
                  <c:v>7.0000000000000009</c:v>
                </c:pt>
                <c:pt idx="5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747-4A39-8603-69812EC7A3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7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818761626361946E-2"/>
          <c:y val="4.4827586206896551E-2"/>
          <c:w val="0.97236247674727616"/>
          <c:h val="0.9103448275862069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3CFE1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DFE5E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9698-4938-B655-2EE460F18EED}"/>
              </c:ext>
            </c:extLst>
          </c:dPt>
          <c:dLbls>
            <c:dLbl>
              <c:idx val="1"/>
              <c:layout>
                <c:manualLayout>
                  <c:x val="0"/>
                  <c:y val="-3.448275862068965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Circe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698-4938-B655-2EE460F18EE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311</c:v>
                </c:pt>
                <c:pt idx="1">
                  <c:v>867</c:v>
                </c:pt>
                <c:pt idx="2">
                  <c:v>336</c:v>
                </c:pt>
                <c:pt idx="3">
                  <c:v>199</c:v>
                </c:pt>
                <c:pt idx="4">
                  <c:v>57</c:v>
                </c:pt>
                <c:pt idx="5">
                  <c:v>62</c:v>
                </c:pt>
                <c:pt idx="6">
                  <c:v>8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698-4938-B655-2EE460F18EED}"/>
            </c:ext>
          </c:extLst>
        </c:ser>
        <c:ser>
          <c:idx val="1"/>
          <c:order val="1"/>
          <c:spPr>
            <a:solidFill>
              <a:srgbClr val="DFE5E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C3CFE1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9698-4938-B655-2EE460F18EED}"/>
              </c:ext>
            </c:extLst>
          </c:dPt>
          <c:val>
            <c:numRef>
              <c:f>Sheet1!$A$2:$G$2</c:f>
              <c:numCache>
                <c:formatCode>General</c:formatCode>
                <c:ptCount val="7"/>
                <c:pt idx="0">
                  <c:v>966</c:v>
                </c:pt>
                <c:pt idx="1">
                  <c:v>3270</c:v>
                </c:pt>
                <c:pt idx="2">
                  <c:v>2770</c:v>
                </c:pt>
                <c:pt idx="3">
                  <c:v>1552</c:v>
                </c:pt>
                <c:pt idx="4">
                  <c:v>1011</c:v>
                </c:pt>
                <c:pt idx="5">
                  <c:v>1288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698-4938-B655-2EE460F18E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4424448"/>
        <c:axId val="134425984"/>
      </c:barChart>
      <c:catAx>
        <c:axId val="1344244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34425984"/>
        <c:crosses val="min"/>
        <c:auto val="0"/>
        <c:lblAlgn val="ctr"/>
        <c:lblOffset val="100"/>
        <c:noMultiLvlLbl val="0"/>
      </c:catAx>
      <c:valAx>
        <c:axId val="134425984"/>
        <c:scaling>
          <c:orientation val="minMax"/>
          <c:max val="5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Circe"/>
                <a:ea typeface="+mn-ea"/>
                <a:cs typeface="+mn-cs"/>
              </a:defRPr>
            </a:pPr>
            <a:endParaRPr lang="ru-RU"/>
          </a:p>
        </c:txPr>
        <c:crossAx val="134424448"/>
        <c:crosses val="min"/>
        <c:crossBetween val="between"/>
        <c:majorUnit val="1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1"/>
          <c:order val="0"/>
          <c:tx>
            <c:strRef>
              <c:f>Лист1!$B$1</c:f>
              <c:strCache>
                <c:ptCount val="1"/>
                <c:pt idx="0">
                  <c:v>Кол-во утвержденных типов СО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</c:spPr>
          <c:invertIfNegative val="0"/>
          <c:dLbls>
            <c:dLbl>
              <c:idx val="9"/>
              <c:layout>
                <c:manualLayout>
                  <c:x val="-1.1111111111111112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74F-46CF-8AD8-211C608AB9CD}"/>
                </c:ext>
              </c:extLst>
            </c:dLbl>
            <c:dLbl>
              <c:idx val="10"/>
              <c:layout>
                <c:manualLayout>
                  <c:x val="-8.7003791515623177E-3"/>
                  <c:y val="1.38888888888888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74F-46CF-8AD8-211C608AB9C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16</c:f>
              <c:numCache>
                <c:formatCode>General</c:formatCode>
                <c:ptCount val="1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</c:numCache>
            </c:numRef>
          </c:cat>
          <c:val>
            <c:numRef>
              <c:f>Лист1!$B$2:$B$16</c:f>
              <c:numCache>
                <c:formatCode>General</c:formatCode>
                <c:ptCount val="15"/>
                <c:pt idx="0">
                  <c:v>274</c:v>
                </c:pt>
                <c:pt idx="1">
                  <c:v>326</c:v>
                </c:pt>
                <c:pt idx="2">
                  <c:v>112</c:v>
                </c:pt>
                <c:pt idx="3">
                  <c:v>217</c:v>
                </c:pt>
                <c:pt idx="4">
                  <c:v>160</c:v>
                </c:pt>
                <c:pt idx="5">
                  <c:v>190</c:v>
                </c:pt>
                <c:pt idx="6">
                  <c:v>133</c:v>
                </c:pt>
                <c:pt idx="7">
                  <c:v>148</c:v>
                </c:pt>
                <c:pt idx="8">
                  <c:v>246</c:v>
                </c:pt>
                <c:pt idx="9">
                  <c:v>219</c:v>
                </c:pt>
                <c:pt idx="10">
                  <c:v>188</c:v>
                </c:pt>
                <c:pt idx="11">
                  <c:v>199</c:v>
                </c:pt>
                <c:pt idx="12">
                  <c:v>235</c:v>
                </c:pt>
                <c:pt idx="13">
                  <c:v>301</c:v>
                </c:pt>
                <c:pt idx="14">
                  <c:v>3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74F-46CF-8AD8-211C608AB9CD}"/>
            </c:ext>
          </c:extLst>
        </c:ser>
        <c:ser>
          <c:idx val="2"/>
          <c:order val="1"/>
          <c:tx>
            <c:strRef>
              <c:f>Лист1!$C$1</c:f>
              <c:strCache>
                <c:ptCount val="1"/>
                <c:pt idx="0">
                  <c:v>Кол-во продленных типов СО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</c:spPr>
          <c:invertIfNegative val="0"/>
          <c:dLbls>
            <c:dLbl>
              <c:idx val="10"/>
              <c:layout>
                <c:manualLayout>
                  <c:x val="6.0268965028243695E-4"/>
                  <c:y val="-4.629629629629629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74F-46CF-8AD8-211C608AB9C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16</c:f>
              <c:numCache>
                <c:formatCode>General</c:formatCode>
                <c:ptCount val="1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</c:numCache>
            </c:numRef>
          </c:cat>
          <c:val>
            <c:numRef>
              <c:f>Лист1!$C$2:$C$16</c:f>
              <c:numCache>
                <c:formatCode>General</c:formatCode>
                <c:ptCount val="15"/>
                <c:pt idx="0">
                  <c:v>755</c:v>
                </c:pt>
                <c:pt idx="1">
                  <c:v>520</c:v>
                </c:pt>
                <c:pt idx="2">
                  <c:v>502</c:v>
                </c:pt>
                <c:pt idx="3">
                  <c:v>542</c:v>
                </c:pt>
                <c:pt idx="4">
                  <c:v>573</c:v>
                </c:pt>
                <c:pt idx="5">
                  <c:v>344</c:v>
                </c:pt>
                <c:pt idx="6">
                  <c:v>224</c:v>
                </c:pt>
                <c:pt idx="7">
                  <c:v>264</c:v>
                </c:pt>
                <c:pt idx="8">
                  <c:v>378</c:v>
                </c:pt>
                <c:pt idx="9">
                  <c:v>550</c:v>
                </c:pt>
                <c:pt idx="10">
                  <c:v>217</c:v>
                </c:pt>
                <c:pt idx="11">
                  <c:v>313</c:v>
                </c:pt>
                <c:pt idx="12">
                  <c:v>395</c:v>
                </c:pt>
                <c:pt idx="13">
                  <c:v>767</c:v>
                </c:pt>
                <c:pt idx="14">
                  <c:v>7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74F-46CF-8AD8-211C608AB9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4659456"/>
        <c:axId val="134558848"/>
      </c:barChart>
      <c:catAx>
        <c:axId val="1346594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134558848"/>
        <c:crosses val="autoZero"/>
        <c:auto val="1"/>
        <c:lblAlgn val="ctr"/>
        <c:lblOffset val="100"/>
        <c:noMultiLvlLbl val="0"/>
      </c:catAx>
      <c:valAx>
        <c:axId val="13455884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34659456"/>
        <c:crosses val="autoZero"/>
        <c:crossBetween val="between"/>
      </c:valAx>
    </c:plotArea>
    <c:legend>
      <c:legendPos val="b"/>
      <c:overlay val="0"/>
      <c:txPr>
        <a:bodyPr/>
        <a:lstStyle/>
        <a:p>
          <a:pPr>
            <a:defRPr sz="1050" b="1">
              <a:latin typeface="Arial" panose="020B060402020202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30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dPt>
            <c:idx val="1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814B-4ED5-A4FD-D38F67F38838}"/>
              </c:ext>
            </c:extLst>
          </c:dPt>
          <c:dPt>
            <c:idx val="2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814B-4ED5-A4FD-D38F67F38838}"/>
              </c:ext>
            </c:extLst>
          </c:dPt>
          <c:dPt>
            <c:idx val="3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814B-4ED5-A4FD-D38F67F3883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62:$A$65</c:f>
              <c:strCache>
                <c:ptCount val="4"/>
                <c:pt idx="0">
                  <c:v>Действующие СО</c:v>
                </c:pt>
                <c:pt idx="1">
                  <c:v>С истекшим сроком действия СО</c:v>
                </c:pt>
                <c:pt idx="2">
                  <c:v>Архивные СО</c:v>
                </c:pt>
                <c:pt idx="3">
                  <c:v>Исключенные СО</c:v>
                </c:pt>
              </c:strCache>
            </c:strRef>
          </c:cat>
          <c:val>
            <c:numRef>
              <c:f>Лист1!$B$62:$B$65</c:f>
              <c:numCache>
                <c:formatCode>General</c:formatCode>
                <c:ptCount val="4"/>
                <c:pt idx="0">
                  <c:v>4967</c:v>
                </c:pt>
                <c:pt idx="1">
                  <c:v>3309</c:v>
                </c:pt>
                <c:pt idx="2">
                  <c:v>2911</c:v>
                </c:pt>
                <c:pt idx="3">
                  <c:v>23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14B-4ED5-A4FD-D38F67F388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b"/>
      <c:overlay val="0"/>
      <c:txPr>
        <a:bodyPr/>
        <a:lstStyle/>
        <a:p>
          <a:pPr>
            <a:defRPr sz="1200" b="1">
              <a:latin typeface="Arial" panose="020B060402020202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0"/>
    <c:plotArea>
      <c:layout>
        <c:manualLayout>
          <c:layoutTarget val="inner"/>
          <c:xMode val="edge"/>
          <c:yMode val="edge"/>
          <c:x val="0.45414380364663665"/>
          <c:y val="3.1849435384973493E-2"/>
          <c:w val="0.52851973878804226"/>
          <c:h val="0.93630112923005304"/>
        </c:manualLayout>
      </c:layout>
      <c:barChart>
        <c:barDir val="bar"/>
        <c:grouping val="clustered"/>
        <c:varyColors val="0"/>
        <c:ser>
          <c:idx val="0"/>
          <c:order val="0"/>
          <c:invertIfNegative val="0"/>
          <c:dLbls>
            <c:dLbl>
              <c:idx val="0"/>
              <c:layout>
                <c:manualLayout>
                  <c:x val="-1.2409796293193847E-7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98D-4389-A0D3-4E096EA132B4}"/>
                </c:ext>
              </c:extLst>
            </c:dLbl>
            <c:dLbl>
              <c:idx val="1"/>
              <c:layout>
                <c:manualLayout>
                  <c:x val="-1.2409796293193847E-7"/>
                  <c:y val="5.734768319875442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98D-4389-A0D3-4E096EA132B4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98D-4389-A0D3-4E096EA132B4}"/>
                </c:ext>
              </c:extLst>
            </c:dLbl>
            <c:dLbl>
              <c:idx val="23"/>
              <c:layout>
                <c:manualLayout>
                  <c:x val="-4.7281323877068557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98D-4389-A0D3-4E096EA132B4}"/>
                </c:ext>
              </c:extLst>
            </c:dLbl>
            <c:dLbl>
              <c:idx val="24"/>
              <c:layout>
                <c:manualLayout>
                  <c:x val="-4.7281323877068557E-3"/>
                  <c:y val="-5.398584460493767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98D-4389-A0D3-4E096EA132B4}"/>
                </c:ext>
              </c:extLst>
            </c:dLbl>
            <c:dLbl>
              <c:idx val="25"/>
              <c:layout>
                <c:manualLayout>
                  <c:x val="-3.1520882584712374E-3"/>
                  <c:y val="-3.12454562121087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98D-4389-A0D3-4E096EA132B4}"/>
                </c:ext>
              </c:extLst>
            </c:dLbl>
            <c:dLbl>
              <c:idx val="26"/>
              <c:layout>
                <c:manualLayout>
                  <c:x val="-3.1520882584712374E-3"/>
                  <c:y val="-2.867384159937721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98D-4389-A0D3-4E096EA132B4}"/>
                </c:ext>
              </c:extLst>
            </c:dLbl>
            <c:dLbl>
              <c:idx val="27"/>
              <c:layout>
                <c:manualLayout>
                  <c:x val="-2.3922102842141896E-3"/>
                  <c:y val="-5.5545676075357956E-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98D-4389-A0D3-4E096EA132B4}"/>
                </c:ext>
              </c:extLst>
            </c:dLbl>
            <c:dLbl>
              <c:idx val="28"/>
              <c:layout>
                <c:manualLayout>
                  <c:x val="-7.0641525481716164E-3"/>
                  <c:y val="1.84052604078446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098D-4389-A0D3-4E096EA132B4}"/>
                </c:ext>
              </c:extLst>
            </c:dLbl>
            <c:dLbl>
              <c:idx val="29"/>
              <c:layout>
                <c:manualLayout>
                  <c:x val="-6.3042112318645975E-3"/>
                  <c:y val="1.77596211235770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098D-4389-A0D3-4E096EA132B4}"/>
                </c:ext>
              </c:extLst>
            </c:dLbl>
            <c:dLbl>
              <c:idx val="30"/>
              <c:layout>
                <c:manualLayout>
                  <c:x val="-7.8802206461779777E-3"/>
                  <c:y val="2.580645743943949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098D-4389-A0D3-4E096EA132B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3!$A$9:$A$38</c:f>
              <c:strCache>
                <c:ptCount val="30"/>
                <c:pt idx="0">
                  <c:v>АО "МГПЗ" </c:v>
                </c:pt>
                <c:pt idx="1">
                  <c:v>ОАО "ВИЛС" </c:v>
                </c:pt>
                <c:pt idx="2">
                  <c:v>АО "ЕЗ ОЦМ" </c:v>
                </c:pt>
                <c:pt idx="3">
                  <c:v>ООО "УЗХП" </c:v>
                </c:pt>
                <c:pt idx="4">
                  <c:v>ООО "Югра-ПГС" </c:v>
                </c:pt>
                <c:pt idx="5">
                  <c:v>ИГХ СО РАН </c:v>
                </c:pt>
                <c:pt idx="6">
                  <c:v>АО "УЭХК" </c:v>
                </c:pt>
                <c:pt idx="7">
                  <c:v>УрФУ </c:v>
                </c:pt>
                <c:pt idx="8">
                  <c:v>АО "Сибтехнология" </c:v>
                </c:pt>
                <c:pt idx="9">
                  <c:v>ООО "МОНИТОРИНГ" </c:v>
                </c:pt>
                <c:pt idx="10">
                  <c:v>ООО "Институт Гипроникель" </c:v>
                </c:pt>
                <c:pt idx="11">
                  <c:v>ООО "НТЦ "РАДЭК" </c:v>
                </c:pt>
                <c:pt idx="12">
                  <c:v>АНО НПО "ИНТЕГРСО" </c:v>
                </c:pt>
                <c:pt idx="13">
                  <c:v>АО "Иргиредмет" </c:v>
                </c:pt>
                <c:pt idx="14">
                  <c:v>НИИПФ ФГБОУ ВПО "ИГУ" </c:v>
                </c:pt>
                <c:pt idx="15">
                  <c:v>ЭАА "Эко-аналитика" </c:v>
                </c:pt>
                <c:pt idx="16">
                  <c:v>ОАО "Красцветмет" </c:v>
                </c:pt>
                <c:pt idx="17">
                  <c:v>ООО "СпектроХим"</c:v>
                </c:pt>
                <c:pt idx="18">
                  <c:v>ООО "Петроаналитика" </c:v>
                </c:pt>
                <c:pt idx="19">
                  <c:v>ООО "Нефть-Стандарт" </c:v>
                </c:pt>
                <c:pt idx="20">
                  <c:v>ООО "ЦСОВВ" </c:v>
                </c:pt>
                <c:pt idx="21">
                  <c:v>ООО "ИНТЕГРСО" </c:v>
                </c:pt>
                <c:pt idx="22">
                  <c:v>ФГУП "Московский эндокринный завод"</c:v>
                </c:pt>
                <c:pt idx="23">
                  <c:v>ФБУ "ГИЛС и НП"</c:v>
                </c:pt>
                <c:pt idx="24">
                  <c:v>ООО "ЭКРОСХИМ" </c:v>
                </c:pt>
                <c:pt idx="25">
                  <c:v>ООО "НЦСО"</c:v>
                </c:pt>
                <c:pt idx="26">
                  <c:v>ООО "Виктори-Стандарт" </c:v>
                </c:pt>
                <c:pt idx="27">
                  <c:v>ЗАО "ИСО" </c:v>
                </c:pt>
                <c:pt idx="28">
                  <c:v>ФГУП "ВНИИМ им.Д.И.Менделеева" (ВНИИМ-290 типов СО, УНИИМ-477 типов СО) </c:v>
                </c:pt>
                <c:pt idx="29">
                  <c:v>ЗАО "Мценскпрокат" </c:v>
                </c:pt>
              </c:strCache>
            </c:strRef>
          </c:cat>
          <c:val>
            <c:numRef>
              <c:f>Лист3!$B$9:$B$38</c:f>
              <c:numCache>
                <c:formatCode>General</c:formatCode>
                <c:ptCount val="30"/>
                <c:pt idx="0">
                  <c:v>25</c:v>
                </c:pt>
                <c:pt idx="1">
                  <c:v>26</c:v>
                </c:pt>
                <c:pt idx="2">
                  <c:v>30</c:v>
                </c:pt>
                <c:pt idx="3">
                  <c:v>34</c:v>
                </c:pt>
                <c:pt idx="4">
                  <c:v>34</c:v>
                </c:pt>
                <c:pt idx="5">
                  <c:v>34</c:v>
                </c:pt>
                <c:pt idx="6">
                  <c:v>40</c:v>
                </c:pt>
                <c:pt idx="7">
                  <c:v>43</c:v>
                </c:pt>
                <c:pt idx="8">
                  <c:v>43</c:v>
                </c:pt>
                <c:pt idx="9">
                  <c:v>49</c:v>
                </c:pt>
                <c:pt idx="10">
                  <c:v>52</c:v>
                </c:pt>
                <c:pt idx="11">
                  <c:v>56</c:v>
                </c:pt>
                <c:pt idx="12">
                  <c:v>57</c:v>
                </c:pt>
                <c:pt idx="13">
                  <c:v>61</c:v>
                </c:pt>
                <c:pt idx="14">
                  <c:v>64</c:v>
                </c:pt>
                <c:pt idx="15">
                  <c:v>65</c:v>
                </c:pt>
                <c:pt idx="16">
                  <c:v>77</c:v>
                </c:pt>
                <c:pt idx="17">
                  <c:v>85</c:v>
                </c:pt>
                <c:pt idx="18">
                  <c:v>93</c:v>
                </c:pt>
                <c:pt idx="19">
                  <c:v>103</c:v>
                </c:pt>
                <c:pt idx="20">
                  <c:v>124</c:v>
                </c:pt>
                <c:pt idx="21">
                  <c:v>148</c:v>
                </c:pt>
                <c:pt idx="22">
                  <c:v>164</c:v>
                </c:pt>
                <c:pt idx="23">
                  <c:v>201</c:v>
                </c:pt>
                <c:pt idx="24">
                  <c:v>203</c:v>
                </c:pt>
                <c:pt idx="25">
                  <c:v>248</c:v>
                </c:pt>
                <c:pt idx="26">
                  <c:v>257</c:v>
                </c:pt>
                <c:pt idx="27">
                  <c:v>517</c:v>
                </c:pt>
                <c:pt idx="28">
                  <c:v>767</c:v>
                </c:pt>
                <c:pt idx="29">
                  <c:v>8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098D-4389-A0D3-4E096EA132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4840320"/>
        <c:axId val="134841856"/>
      </c:barChart>
      <c:catAx>
        <c:axId val="134840320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134841856"/>
        <c:crosses val="autoZero"/>
        <c:auto val="1"/>
        <c:lblAlgn val="ctr"/>
        <c:lblOffset val="100"/>
        <c:noMultiLvlLbl val="0"/>
      </c:catAx>
      <c:valAx>
        <c:axId val="134841856"/>
        <c:scaling>
          <c:orientation val="minMax"/>
          <c:max val="825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13484032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800" b="1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30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7.3126406434143483E-3"/>
          <c:y val="1.43266267645811E-2"/>
          <c:w val="0.97772183809642066"/>
          <c:h val="0.80719661446813529"/>
        </c:manualLayout>
      </c:layout>
      <c:pie3DChart>
        <c:varyColors val="1"/>
        <c:ser>
          <c:idx val="0"/>
          <c:order val="0"/>
          <c:dPt>
            <c:idx val="1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DB37-46E2-A850-5D68BAF6F766}"/>
              </c:ext>
            </c:extLst>
          </c:dPt>
          <c:dPt>
            <c:idx val="2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DB37-46E2-A850-5D68BAF6F76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4!$A$110:$A$112</c:f>
              <c:strCache>
                <c:ptCount val="3"/>
                <c:pt idx="0">
                  <c:v>Нефть и нефтепродукты 876 типов СО</c:v>
                </c:pt>
                <c:pt idx="1">
                  <c:v>Газы и газовые смеси 246 типов СО</c:v>
                </c:pt>
                <c:pt idx="2">
                  <c:v>Другие СО 3845 типов СО</c:v>
                </c:pt>
              </c:strCache>
            </c:strRef>
          </c:cat>
          <c:val>
            <c:numRef>
              <c:f>Лист4!$B$110:$B$112</c:f>
              <c:numCache>
                <c:formatCode>General</c:formatCode>
                <c:ptCount val="3"/>
                <c:pt idx="0">
                  <c:v>876</c:v>
                </c:pt>
                <c:pt idx="1">
                  <c:v>246</c:v>
                </c:pt>
                <c:pt idx="2">
                  <c:v>38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B37-46E2-A850-5D68BAF6F7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b"/>
      <c:layout>
        <c:manualLayout>
          <c:xMode val="edge"/>
          <c:yMode val="edge"/>
          <c:x val="2.2841144012321072E-2"/>
          <c:y val="0.77848293209888164"/>
          <c:w val="0.97648395820943656"/>
          <c:h val="0.22151698240982373"/>
        </c:manualLayout>
      </c:layout>
      <c:overlay val="0"/>
      <c:txPr>
        <a:bodyPr/>
        <a:lstStyle/>
        <a:p>
          <a:pPr>
            <a:defRPr sz="1200" b="1"/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20"/>
      <c:rotY val="8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3.1977683127187482E-4"/>
          <c:y val="7.7329279424368708E-2"/>
          <c:w val="0.99968022316872818"/>
          <c:h val="0.41366347874576992"/>
        </c:manualLayout>
      </c:layout>
      <c:pie3DChart>
        <c:varyColors val="1"/>
        <c:ser>
          <c:idx val="0"/>
          <c:order val="0"/>
          <c:dLbls>
            <c:dLbl>
              <c:idx val="23"/>
              <c:tx>
                <c:rich>
                  <a:bodyPr/>
                  <a:lstStyle/>
                  <a:p>
                    <a:r>
                      <a:rPr lang="en-US"/>
                      <a:t>1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3676-4073-9D77-98C144FF32A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2:$A$48</c:f>
              <c:strCache>
                <c:ptCount val="27"/>
                <c:pt idx="0">
                  <c:v>Газы и газовые смеси органические - 163 типа СО</c:v>
                </c:pt>
                <c:pt idx="1">
                  <c:v>Сера в нефти и нефтепродуктах - 149 типов СО</c:v>
                </c:pt>
                <c:pt idx="2">
                  <c:v>Вязкость  - 84 типов СО</c:v>
                </c:pt>
                <c:pt idx="3">
                  <c:v>Плотность - 68 типов СО</c:v>
                </c:pt>
                <c:pt idx="4">
                  <c:v>Вода в нефти и нефтепродуктах - 42 типа СО</c:v>
                </c:pt>
                <c:pt idx="5">
                  <c:v>Температура вспышки в закрытом тигле - 38 типов СО</c:v>
                </c:pt>
                <c:pt idx="6">
                  <c:v>Давление насыщенных паров - 38 типов СО</c:v>
                </c:pt>
                <c:pt idx="7">
                  <c:v>Механические примеси в нефти и нефтепродуктах - 34 типа СО</c:v>
                </c:pt>
                <c:pt idx="8">
                  <c:v>Газы и газовые смеси неорганические - 33 типа СО</c:v>
                </c:pt>
                <c:pt idx="9">
                  <c:v>Бензины - 32 типа СО</c:v>
                </c:pt>
                <c:pt idx="10">
                  <c:v>Температура вспышки в открытом тигле - 30 типов СО</c:v>
                </c:pt>
                <c:pt idx="11">
                  <c:v>Кислотность, кислотное число - 27 типов СО</c:v>
                </c:pt>
                <c:pt idx="12">
                  <c:v>Фракционный состав нефти и нефтепродуктов - 25 типов СО</c:v>
                </c:pt>
                <c:pt idx="13">
                  <c:v>Температура застывания и текучести - 21 тип СО</c:v>
                </c:pt>
                <c:pt idx="14">
                  <c:v>Топливо - 20 типов СО</c:v>
                </c:pt>
                <c:pt idx="15">
                  <c:v>Хлористые соли в нефти и нефтепродуктах - 14 типов СО</c:v>
                </c:pt>
                <c:pt idx="16">
                  <c:v>Масла - 14 типов СО</c:v>
                </c:pt>
                <c:pt idx="17">
                  <c:v>Хлорорганические соединения в нефти и нефтепродуктах - 14 типов СО</c:v>
                </c:pt>
                <c:pt idx="18">
                  <c:v>Нефть - 13 типов СО</c:v>
                </c:pt>
                <c:pt idx="19">
                  <c:v>Газ природный - 11 типов СО</c:v>
                </c:pt>
                <c:pt idx="20">
                  <c:v>Ароматические углеводороды в нефтепродуктах - 9 типов СО</c:v>
                </c:pt>
                <c:pt idx="21">
                  <c:v>Зола, зольность нефтепродуктов - 8 типов СО</c:v>
                </c:pt>
                <c:pt idx="22">
                  <c:v>Температура начала кристаллизации - 6 типов СО</c:v>
                </c:pt>
                <c:pt idx="23">
                  <c:v>Коксуемость нефтепродуктов, кокс - 5 типов СО</c:v>
                </c:pt>
                <c:pt idx="24">
                  <c:v>Содержание щелочей в нефтепродуктах - 4 типа СО</c:v>
                </c:pt>
                <c:pt idx="25">
                  <c:v>Температура помутнения - 4 типа СО</c:v>
                </c:pt>
                <c:pt idx="26">
                  <c:v>Битумы - 1 тип СО</c:v>
                </c:pt>
              </c:strCache>
            </c:strRef>
          </c:cat>
          <c:val>
            <c:numRef>
              <c:f>Лист1!$B$22:$B$48</c:f>
              <c:numCache>
                <c:formatCode>General</c:formatCode>
                <c:ptCount val="27"/>
                <c:pt idx="0">
                  <c:v>163</c:v>
                </c:pt>
                <c:pt idx="1">
                  <c:v>149</c:v>
                </c:pt>
                <c:pt idx="2">
                  <c:v>84</c:v>
                </c:pt>
                <c:pt idx="3">
                  <c:v>68</c:v>
                </c:pt>
                <c:pt idx="4">
                  <c:v>42</c:v>
                </c:pt>
                <c:pt idx="5">
                  <c:v>38</c:v>
                </c:pt>
                <c:pt idx="6">
                  <c:v>38</c:v>
                </c:pt>
                <c:pt idx="7">
                  <c:v>34</c:v>
                </c:pt>
                <c:pt idx="8">
                  <c:v>33</c:v>
                </c:pt>
                <c:pt idx="9">
                  <c:v>32</c:v>
                </c:pt>
                <c:pt idx="10">
                  <c:v>30</c:v>
                </c:pt>
                <c:pt idx="11">
                  <c:v>27</c:v>
                </c:pt>
                <c:pt idx="12">
                  <c:v>25</c:v>
                </c:pt>
                <c:pt idx="13">
                  <c:v>21</c:v>
                </c:pt>
                <c:pt idx="14">
                  <c:v>20</c:v>
                </c:pt>
                <c:pt idx="15">
                  <c:v>14</c:v>
                </c:pt>
                <c:pt idx="16">
                  <c:v>14</c:v>
                </c:pt>
                <c:pt idx="17">
                  <c:v>14</c:v>
                </c:pt>
                <c:pt idx="18">
                  <c:v>13</c:v>
                </c:pt>
                <c:pt idx="19">
                  <c:v>11</c:v>
                </c:pt>
                <c:pt idx="20">
                  <c:v>9</c:v>
                </c:pt>
                <c:pt idx="21">
                  <c:v>8</c:v>
                </c:pt>
                <c:pt idx="22">
                  <c:v>6</c:v>
                </c:pt>
                <c:pt idx="23">
                  <c:v>5</c:v>
                </c:pt>
                <c:pt idx="24">
                  <c:v>4</c:v>
                </c:pt>
                <c:pt idx="25">
                  <c:v>4</c:v>
                </c:pt>
                <c:pt idx="2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76-4073-9D77-98C144FF32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b"/>
      <c:layout>
        <c:manualLayout>
          <c:xMode val="edge"/>
          <c:yMode val="edge"/>
          <c:x val="6.2588704272005099E-3"/>
          <c:y val="0.51909520407560505"/>
          <c:w val="0.99171259842519688"/>
          <c:h val="0.47545541955770387"/>
        </c:manualLayout>
      </c:layout>
      <c:overlay val="0"/>
      <c:txPr>
        <a:bodyPr/>
        <a:lstStyle/>
        <a:p>
          <a:pPr>
            <a:defRPr sz="1100" b="0">
              <a:effectLst>
                <a:innerShdw blurRad="114300">
                  <a:prstClr val="black"/>
                </a:innerShdw>
              </a:effectLst>
              <a:latin typeface="Arial" panose="020B0604020202020204" pitchFamily="34" charset="0"/>
              <a:ea typeface="Microsoft JhengHei UI" panose="020B0604030504040204" pitchFamily="34" charset="-12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30"/>
      <c:rotY val="60"/>
      <c:rAngAx val="0"/>
      <c:perspective val="2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4.7239568737801933E-2"/>
          <c:w val="1"/>
          <c:h val="0.4895786869452316"/>
        </c:manualLayout>
      </c:layout>
      <c:pie3DChart>
        <c:varyColors val="1"/>
        <c:ser>
          <c:idx val="0"/>
          <c:order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latin typeface="Arial" panose="020B0604020202020204" pitchFamily="34" charset="0"/>
                    <a:ea typeface="Microsoft JhengHei UI" panose="020B0604030504040204" pitchFamily="34" charset="-12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73:$A$94</c:f>
              <c:strCache>
                <c:ptCount val="22"/>
                <c:pt idx="0">
                  <c:v>ООО "ИНТЕГРСО" и АНО НПО "ИНТЕГРСО" - 148 типов СО</c:v>
                </c:pt>
                <c:pt idx="1">
                  <c:v>ООО "ЭКРОСХИМ" - 143 типа СО</c:v>
                </c:pt>
                <c:pt idx="2">
                  <c:v>ФГУП "ВНИИМ им. Д.И. Менделеева" - 113 типов СО</c:v>
                </c:pt>
                <c:pt idx="3">
                  <c:v>ООО "Нефть-Стандарт" - 103 типа СО</c:v>
                </c:pt>
                <c:pt idx="4">
                  <c:v>ООО "Петроаналитика" - 93 типа СО</c:v>
                </c:pt>
                <c:pt idx="5">
                  <c:v>ООО "СпектроХим" - 85 типов СО</c:v>
                </c:pt>
                <c:pt idx="6">
                  <c:v>УНИИМ - филиал ФГУП "ВНИИМ им.Д.И. Менделеева" - 49 типов СО</c:v>
                </c:pt>
                <c:pt idx="7">
                  <c:v>АО "Сибтехнология" - 43 типа СО</c:v>
                </c:pt>
                <c:pt idx="8">
                  <c:v>ФБУ "Тюменский ЦСМ" - 16 типов СО </c:v>
                </c:pt>
                <c:pt idx="9">
                  <c:v>ООО "НИИ Транснефть"- 11 типов СО</c:v>
                </c:pt>
                <c:pt idx="10">
                  <c:v>АО "Геологика" - 10 типов СО</c:v>
                </c:pt>
                <c:pt idx="11">
                  <c:v>ООО "НПО "ЭЛЕКТРУМ" - 5 типов СО</c:v>
                </c:pt>
                <c:pt idx="12">
                  <c:v>АО "Транснефть - Автоматизация и Метрология"- 4 типа СО</c:v>
                </c:pt>
                <c:pt idx="13">
                  <c:v>ООО "Р-АСА" - 3 типа СО</c:v>
                </c:pt>
                <c:pt idx="14">
                  <c:v>ФБУ "УРАЛТЕСТ"- 2 типа СО</c:v>
                </c:pt>
                <c:pt idx="15">
                  <c:v>АО "ЭПАК-Сервис" - 2 типа СО</c:v>
                </c:pt>
                <c:pt idx="16">
                  <c:v>ФГАОУ ВО "Тюменский государственный университет" - 1 тип СО</c:v>
                </c:pt>
                <c:pt idx="17">
                  <c:v>ООО "ЦСОВВ" - 1 тип СО</c:v>
                </c:pt>
                <c:pt idx="18">
                  <c:v>ООО "Газпром недра" - 1 тип СО</c:v>
                </c:pt>
                <c:pt idx="19">
                  <c:v>ООО "Люмэкс-маркетинг" - 1 тип СО</c:v>
                </c:pt>
                <c:pt idx="20">
                  <c:v>ООО "ЭКМЕТС" - 1 тип СО</c:v>
                </c:pt>
                <c:pt idx="21">
                  <c:v>ООО "ПЭП СИБЭКОПРИБОР" - 1 тип СО</c:v>
                </c:pt>
              </c:strCache>
            </c:strRef>
          </c:cat>
          <c:val>
            <c:numRef>
              <c:f>Лист1!$B$73:$B$94</c:f>
              <c:numCache>
                <c:formatCode>General</c:formatCode>
                <c:ptCount val="22"/>
                <c:pt idx="0">
                  <c:v>148</c:v>
                </c:pt>
                <c:pt idx="1">
                  <c:v>143</c:v>
                </c:pt>
                <c:pt idx="2">
                  <c:v>113</c:v>
                </c:pt>
                <c:pt idx="3">
                  <c:v>103</c:v>
                </c:pt>
                <c:pt idx="4">
                  <c:v>93</c:v>
                </c:pt>
                <c:pt idx="5">
                  <c:v>85</c:v>
                </c:pt>
                <c:pt idx="6">
                  <c:v>49</c:v>
                </c:pt>
                <c:pt idx="7">
                  <c:v>43</c:v>
                </c:pt>
                <c:pt idx="8">
                  <c:v>16</c:v>
                </c:pt>
                <c:pt idx="9">
                  <c:v>11</c:v>
                </c:pt>
                <c:pt idx="10">
                  <c:v>10</c:v>
                </c:pt>
                <c:pt idx="11">
                  <c:v>5</c:v>
                </c:pt>
                <c:pt idx="12">
                  <c:v>4</c:v>
                </c:pt>
                <c:pt idx="13">
                  <c:v>3</c:v>
                </c:pt>
                <c:pt idx="14">
                  <c:v>2</c:v>
                </c:pt>
                <c:pt idx="15">
                  <c:v>2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D0-49A4-BC56-170F3B5AB2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b"/>
      <c:layout>
        <c:manualLayout>
          <c:xMode val="edge"/>
          <c:yMode val="edge"/>
          <c:x val="0"/>
          <c:y val="0.54433902187223737"/>
          <c:w val="0.99516241578988074"/>
          <c:h val="0.43869385447192377"/>
        </c:manualLayout>
      </c:layout>
      <c:overlay val="0"/>
      <c:txPr>
        <a:bodyPr/>
        <a:lstStyle/>
        <a:p>
          <a:pPr>
            <a:defRPr sz="1200" b="1">
              <a:latin typeface="Arial" panose="020B0604020202020204" pitchFamily="34" charset="0"/>
              <a:ea typeface="Microsoft JhengHei UI" panose="020B0604030504040204" pitchFamily="34" charset="-12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30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2.6987681193317709E-2"/>
          <c:w val="1"/>
          <c:h val="0.4103303214847473"/>
        </c:manualLayout>
      </c:layout>
      <c:pie3DChart>
        <c:varyColors val="1"/>
        <c:ser>
          <c:idx val="0"/>
          <c:order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4!$A$2:$A$29</c:f>
              <c:strCache>
                <c:ptCount val="28"/>
                <c:pt idx="0">
                  <c:v>ООО "МОНИТОРИНГ" – 38 типов СО</c:v>
                </c:pt>
                <c:pt idx="1">
                  <c:v>ООО "Югра-ПГС" – 34 типа СО</c:v>
                </c:pt>
                <c:pt idx="2">
                  <c:v>ФГУП "ВНИИМ им.Д.И.Менделеева" – 29 типов СО</c:v>
                </c:pt>
                <c:pt idx="3">
                  <c:v>АО "МГПЗ" – 25 типов СО</c:v>
                </c:pt>
                <c:pt idx="4">
                  <c:v>ООО "ПГС-сервис" – 18 типов СО</c:v>
                </c:pt>
                <c:pt idx="5">
                  <c:v>ООО "НИИ КМ" – 14 типов СО</c:v>
                </c:pt>
                <c:pt idx="6">
                  <c:v>ФГУП "СПО "АНАЛИТПРИБОР" – 13 типов СО</c:v>
                </c:pt>
                <c:pt idx="7">
                  <c:v>АО "Линде Газ Рус" – 6 типов СО</c:v>
                </c:pt>
                <c:pt idx="8">
                  <c:v>ФБУ "Нижегородский ЦСМ" – 6 типов СО</c:v>
                </c:pt>
                <c:pt idx="9">
                  <c:v>ООО "ПГС Техгаз" - 5 типов СО</c:v>
                </c:pt>
                <c:pt idx="10">
                  <c:v>УНИИМ - филиал ФГУП "ВНИИМ им.Д.И. Менделеева" - 15 типов СО</c:v>
                </c:pt>
                <c:pt idx="11">
                  <c:v>АО "КАУСТИК" – 4 типа СО</c:v>
                </c:pt>
                <c:pt idx="12">
                  <c:v>Новокузнецкий филиал ФБУ "Кузбасский ЦСМ" – 4 типа СО</c:v>
                </c:pt>
                <c:pt idx="13">
                  <c:v>ООО "Центр метрологических услуг" – 4 типа СО</c:v>
                </c:pt>
                <c:pt idx="14">
                  <c:v>ФБУ "Красноярский ЦСМ" – 4 типа СО</c:v>
                </c:pt>
                <c:pt idx="15">
                  <c:v>ООО "Газпром переработка" филиал "Оренбургский гелиевый завод" – 3 типа СО</c:v>
                </c:pt>
                <c:pt idx="16">
                  <c:v>ООО "Газпром трансгаз Санкт-Петербург" – 2 типа СО</c:v>
                </c:pt>
                <c:pt idx="17">
                  <c:v>ООО "Газпром трансгаз Томск" – 2 типа СО</c:v>
                </c:pt>
                <c:pt idx="18">
                  <c:v>ООО "Газпром трансгаз Волгоград" – 1 тип СО</c:v>
                </c:pt>
                <c:pt idx="19">
                  <c:v>ООО "Газпром трансгаз Краснодар" – 1 тип СО</c:v>
                </c:pt>
                <c:pt idx="20">
                  <c:v>ООО "Газпром трансгаз Москва" – 1 тип СО</c:v>
                </c:pt>
                <c:pt idx="21">
                  <c:v>ООО "Газпром трансгаз Нижний Новгород" – 1 тип СО</c:v>
                </c:pt>
                <c:pt idx="22">
                  <c:v>ООО "Газпром трансгаз Саратов" – 1 тип СО</c:v>
                </c:pt>
                <c:pt idx="23">
                  <c:v>ООО "Газпром трансгаз Ставрополь" – 1 тип СО</c:v>
                </c:pt>
                <c:pt idx="24">
                  <c:v>ООО "ЗапСибНефтехим" – 1 тип СО</c:v>
                </c:pt>
                <c:pt idx="25">
                  <c:v>ФГБУ "ВНИИМС" – 1 тип СО</c:v>
                </c:pt>
                <c:pt idx="26">
                  <c:v>Челябинское ЛПУМГ филиал ООО "Газпром трансгаз Екатеринбург" – 1 тип СО</c:v>
                </c:pt>
                <c:pt idx="27">
                  <c:v>ФБУ "Тюменский ЦСМ" – 1 тип СО</c:v>
                </c:pt>
              </c:strCache>
            </c:strRef>
          </c:cat>
          <c:val>
            <c:numRef>
              <c:f>Лист4!$B$2:$B$29</c:f>
              <c:numCache>
                <c:formatCode>General</c:formatCode>
                <c:ptCount val="28"/>
                <c:pt idx="0">
                  <c:v>38</c:v>
                </c:pt>
                <c:pt idx="1">
                  <c:v>34</c:v>
                </c:pt>
                <c:pt idx="2">
                  <c:v>29</c:v>
                </c:pt>
                <c:pt idx="3">
                  <c:v>25</c:v>
                </c:pt>
                <c:pt idx="4">
                  <c:v>18</c:v>
                </c:pt>
                <c:pt idx="5">
                  <c:v>14</c:v>
                </c:pt>
                <c:pt idx="6">
                  <c:v>13</c:v>
                </c:pt>
                <c:pt idx="7">
                  <c:v>6</c:v>
                </c:pt>
                <c:pt idx="8">
                  <c:v>6</c:v>
                </c:pt>
                <c:pt idx="9">
                  <c:v>5</c:v>
                </c:pt>
                <c:pt idx="10">
                  <c:v>15</c:v>
                </c:pt>
                <c:pt idx="11">
                  <c:v>4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13-4740-9039-283DACFD74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b"/>
      <c:layout>
        <c:manualLayout>
          <c:xMode val="edge"/>
          <c:yMode val="edge"/>
          <c:x val="0"/>
          <c:y val="0.44965102840861504"/>
          <c:w val="0.98598930184227895"/>
          <c:h val="0.5322698776908964"/>
        </c:manualLayout>
      </c:layout>
      <c:overlay val="0"/>
      <c:txPr>
        <a:bodyPr/>
        <a:lstStyle/>
        <a:p>
          <a:pPr>
            <a:defRPr sz="1000" b="1">
              <a:latin typeface="Arial" panose="020B060402020202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30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2.4250000000000001E-2"/>
          <c:y val="5.5081755985669903E-2"/>
          <c:w val="0.62155444482483158"/>
          <c:h val="0.93988617100076399"/>
        </c:manualLayout>
      </c:layout>
      <c:pie3DChart>
        <c:varyColors val="1"/>
        <c:ser>
          <c:idx val="0"/>
          <c:order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54:$A$57</c:f>
              <c:strCache>
                <c:ptCount val="4"/>
                <c:pt idx="0">
                  <c:v>Межлабораторный эксперимент – 315 типов СО</c:v>
                </c:pt>
                <c:pt idx="1">
                  <c:v>Применение аттестованных методик измерений – 283 типа СО</c:v>
                </c:pt>
                <c:pt idx="2">
                  <c:v>Расчетно-экспериментальная процедура приготовления – 196 типов СО</c:v>
                </c:pt>
                <c:pt idx="3">
                  <c:v>Использование государственных эталонов – 119 типов СО</c:v>
                </c:pt>
              </c:strCache>
            </c:strRef>
          </c:cat>
          <c:val>
            <c:numRef>
              <c:f>Лист1!$B$54:$B$57</c:f>
              <c:numCache>
                <c:formatCode>General</c:formatCode>
                <c:ptCount val="4"/>
                <c:pt idx="0">
                  <c:v>315</c:v>
                </c:pt>
                <c:pt idx="1">
                  <c:v>283</c:v>
                </c:pt>
                <c:pt idx="2">
                  <c:v>196</c:v>
                </c:pt>
                <c:pt idx="3">
                  <c:v>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EE-4EE3-B606-DFFF7DD425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>
        <c:manualLayout>
          <c:xMode val="edge"/>
          <c:yMode val="edge"/>
          <c:x val="0.65333115466238012"/>
          <c:y val="0.21011814346976826"/>
          <c:w val="0.33813484636729951"/>
          <c:h val="0.72144364104653702"/>
        </c:manualLayout>
      </c:layout>
      <c:overlay val="0"/>
      <c:txPr>
        <a:bodyPr/>
        <a:lstStyle/>
        <a:p>
          <a:pPr>
            <a:defRPr sz="1600" b="1">
              <a:latin typeface="Arial" panose="020B060402020202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image" Target="../media/image37.pn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image" Target="../media/image37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00BCEC6-5765-4D5F-9B00-199E4F25523D}" type="doc">
      <dgm:prSet loTypeId="urn:microsoft.com/office/officeart/2005/8/layout/vList5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ru-RU"/>
        </a:p>
      </dgm:t>
    </dgm:pt>
    <dgm:pt modelId="{3214497A-C761-42FB-91C8-383DC147C5C6}">
      <dgm:prSet phldrT="[Текст]" custT="1"/>
      <dgm:spPr>
        <a:solidFill>
          <a:srgbClr val="004E6B"/>
        </a:solidFill>
      </dgm:spPr>
      <dgm:t>
        <a:bodyPr/>
        <a:lstStyle/>
        <a:p>
          <a:r>
            <a:rPr lang="ru-RU" sz="1600" dirty="0">
              <a:latin typeface="+mn-lt"/>
              <a:cs typeface="Times New Roman" pitchFamily="18" charset="0"/>
            </a:rPr>
            <a:t>Вступил в силу</a:t>
          </a:r>
        </a:p>
        <a:p>
          <a:r>
            <a:rPr lang="ru-RU" sz="1600" dirty="0">
              <a:latin typeface="+mn-lt"/>
              <a:cs typeface="Times New Roman" pitchFamily="18" charset="0"/>
            </a:rPr>
            <a:t>с 01 декабря 202</a:t>
          </a:r>
          <a:r>
            <a:rPr lang="en-US" sz="1600" dirty="0">
              <a:latin typeface="+mn-lt"/>
              <a:cs typeface="Times New Roman" pitchFamily="18" charset="0"/>
            </a:rPr>
            <a:t>1</a:t>
          </a:r>
          <a:r>
            <a:rPr lang="ru-RU" sz="1600" dirty="0">
              <a:latin typeface="+mn-lt"/>
              <a:cs typeface="Times New Roman" pitchFamily="18" charset="0"/>
            </a:rPr>
            <a:t> г.</a:t>
          </a:r>
          <a:endParaRPr lang="ru-RU" sz="1600" dirty="0">
            <a:latin typeface="+mn-lt"/>
          </a:endParaRPr>
        </a:p>
      </dgm:t>
    </dgm:pt>
    <dgm:pt modelId="{BF1F54F1-927C-475F-AE02-AE56AF262A88}" type="parTrans" cxnId="{0ED032A5-BD28-4B5D-AE8E-2DA9713E7E3E}">
      <dgm:prSet/>
      <dgm:spPr/>
      <dgm:t>
        <a:bodyPr/>
        <a:lstStyle/>
        <a:p>
          <a:endParaRPr lang="ru-RU"/>
        </a:p>
      </dgm:t>
    </dgm:pt>
    <dgm:pt modelId="{364C040A-E044-4FDC-8493-31AE84D418DA}" type="sibTrans" cxnId="{0ED032A5-BD28-4B5D-AE8E-2DA9713E7E3E}">
      <dgm:prSet/>
      <dgm:spPr/>
      <dgm:t>
        <a:bodyPr/>
        <a:lstStyle/>
        <a:p>
          <a:endParaRPr lang="ru-RU"/>
        </a:p>
      </dgm:t>
    </dgm:pt>
    <dgm:pt modelId="{AB58A18F-4117-451F-9516-1641AE418607}">
      <dgm:prSet phldrT="[Текст]" custT="1"/>
      <dgm:spPr>
        <a:solidFill>
          <a:schemeClr val="accent3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ru-RU" sz="1100" b="1" dirty="0">
              <a:latin typeface="+mn-lt"/>
              <a:cs typeface="Times New Roman" pitchFamily="18" charset="0"/>
            </a:rPr>
            <a:t>ГОСТ Р ИСО 17034-2020 </a:t>
          </a:r>
          <a:r>
            <a:rPr lang="ru-RU" sz="1100" dirty="0">
              <a:latin typeface="+mn-lt"/>
              <a:cs typeface="Times New Roman" pitchFamily="18" charset="0"/>
            </a:rPr>
            <a:t>Общие требования к компетентности производителей стандартных образцов</a:t>
          </a:r>
          <a:endParaRPr lang="ru-RU" sz="1100" dirty="0">
            <a:latin typeface="+mn-lt"/>
          </a:endParaRPr>
        </a:p>
      </dgm:t>
    </dgm:pt>
    <dgm:pt modelId="{6BDA287F-AED7-4A18-A8F8-7FE212FF55D8}" type="parTrans" cxnId="{86A1A606-A612-4FD1-991B-DB2C6B9072F7}">
      <dgm:prSet/>
      <dgm:spPr/>
      <dgm:t>
        <a:bodyPr/>
        <a:lstStyle/>
        <a:p>
          <a:endParaRPr lang="ru-RU"/>
        </a:p>
      </dgm:t>
    </dgm:pt>
    <dgm:pt modelId="{1F9B5666-6810-4A0F-857F-546DFB746B45}" type="sibTrans" cxnId="{86A1A606-A612-4FD1-991B-DB2C6B9072F7}">
      <dgm:prSet/>
      <dgm:spPr/>
      <dgm:t>
        <a:bodyPr/>
        <a:lstStyle/>
        <a:p>
          <a:endParaRPr lang="ru-RU"/>
        </a:p>
      </dgm:t>
    </dgm:pt>
    <dgm:pt modelId="{8337FF5E-FA61-49C5-92B2-AAB11A9A69D8}">
      <dgm:prSet phldrT="[Текст]" custT="1"/>
      <dgm:spPr>
        <a:solidFill>
          <a:srgbClr val="004E6B"/>
        </a:solidFill>
      </dgm:spPr>
      <dgm:t>
        <a:bodyPr/>
        <a:lstStyle/>
        <a:p>
          <a:r>
            <a:rPr lang="ru-RU" sz="1600" dirty="0">
              <a:latin typeface="+mn-lt"/>
              <a:cs typeface="Times New Roman" pitchFamily="18" charset="0"/>
            </a:rPr>
            <a:t>Отменены </a:t>
          </a:r>
          <a:r>
            <a:rPr lang="en-US" sz="1600" dirty="0" err="1">
              <a:latin typeface="+mn-lt"/>
              <a:cs typeface="Times New Roman" pitchFamily="18" charset="0"/>
            </a:rPr>
            <a:t>решениями</a:t>
          </a:r>
          <a:r>
            <a:rPr lang="en-US" sz="1600" dirty="0">
              <a:latin typeface="+mn-lt"/>
              <a:cs typeface="Times New Roman" pitchFamily="18" charset="0"/>
            </a:rPr>
            <a:t> </a:t>
          </a:r>
          <a:r>
            <a:rPr lang="ru-RU" sz="1600" dirty="0">
              <a:latin typeface="+mn-lt"/>
              <a:cs typeface="Times New Roman" pitchFamily="18" charset="0"/>
            </a:rPr>
            <a:t>МГС.</a:t>
          </a:r>
        </a:p>
        <a:p>
          <a:r>
            <a:rPr lang="ru-RU" sz="1600" dirty="0">
              <a:latin typeface="+mn-lt"/>
              <a:cs typeface="Times New Roman" pitchFamily="18" charset="0"/>
            </a:rPr>
            <a:t>Инициирована отмена на территории РФ</a:t>
          </a:r>
          <a:endParaRPr lang="ru-RU" sz="1600" dirty="0">
            <a:latin typeface="+mn-lt"/>
          </a:endParaRPr>
        </a:p>
      </dgm:t>
    </dgm:pt>
    <dgm:pt modelId="{9E7AC00B-48CA-4182-AF6C-C1F23C8A2E80}" type="parTrans" cxnId="{7D002DCE-3FD6-407F-9565-5ABA27226D04}">
      <dgm:prSet/>
      <dgm:spPr/>
      <dgm:t>
        <a:bodyPr/>
        <a:lstStyle/>
        <a:p>
          <a:endParaRPr lang="ru-RU"/>
        </a:p>
      </dgm:t>
    </dgm:pt>
    <dgm:pt modelId="{8B70BFF3-DB4C-47E2-9240-7BCAD882E819}" type="sibTrans" cxnId="{7D002DCE-3FD6-407F-9565-5ABA27226D04}">
      <dgm:prSet/>
      <dgm:spPr/>
      <dgm:t>
        <a:bodyPr/>
        <a:lstStyle/>
        <a:p>
          <a:endParaRPr lang="ru-RU"/>
        </a:p>
      </dgm:t>
    </dgm:pt>
    <dgm:pt modelId="{4D4140EA-1A22-4118-B57C-5997F08B803B}">
      <dgm:prSet phldrT="[Текст]" custT="1"/>
      <dgm:spPr>
        <a:solidFill>
          <a:schemeClr val="accent3">
            <a:lumMod val="20000"/>
            <a:lumOff val="80000"/>
          </a:schemeClr>
        </a:solidFill>
        <a:ln>
          <a:noFill/>
        </a:ln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ru-RU" sz="1100" b="1" dirty="0">
              <a:latin typeface="+mn-lt"/>
              <a:cs typeface="Times New Roman" pitchFamily="18" charset="0"/>
            </a:rPr>
            <a:t>РМГ 52–2002 </a:t>
          </a:r>
          <a:r>
            <a:rPr lang="ru-RU" sz="1100" dirty="0">
              <a:latin typeface="+mn-lt"/>
              <a:cs typeface="Times New Roman" pitchFamily="18" charset="0"/>
            </a:rPr>
            <a:t>ГСИ. Общие методические рекомендации по применению положений ГОСТ 8.315–97 при разработке и применении стандартных образцов;</a:t>
          </a:r>
          <a:endParaRPr lang="ru-RU" sz="1100" dirty="0">
            <a:latin typeface="+mn-lt"/>
          </a:endParaRPr>
        </a:p>
      </dgm:t>
    </dgm:pt>
    <dgm:pt modelId="{00274EAC-3339-4525-B343-161CE25C5270}" type="parTrans" cxnId="{C44726B3-8DCA-4BA8-9E73-20734A245C76}">
      <dgm:prSet/>
      <dgm:spPr/>
      <dgm:t>
        <a:bodyPr/>
        <a:lstStyle/>
        <a:p>
          <a:endParaRPr lang="ru-RU"/>
        </a:p>
      </dgm:t>
    </dgm:pt>
    <dgm:pt modelId="{F180DEDC-ED4D-48C7-BA6E-E313198A053D}" type="sibTrans" cxnId="{C44726B3-8DCA-4BA8-9E73-20734A245C76}">
      <dgm:prSet/>
      <dgm:spPr/>
      <dgm:t>
        <a:bodyPr/>
        <a:lstStyle/>
        <a:p>
          <a:endParaRPr lang="ru-RU"/>
        </a:p>
      </dgm:t>
    </dgm:pt>
    <dgm:pt modelId="{E3371320-4FB1-4D37-9D80-1FFD0619C78F}">
      <dgm:prSet phldrT="[Текст]" custT="1"/>
      <dgm:spPr>
        <a:solidFill>
          <a:srgbClr val="004E6B"/>
        </a:solidFill>
      </dgm:spPr>
      <dgm:t>
        <a:bodyPr/>
        <a:lstStyle/>
        <a:p>
          <a:r>
            <a:rPr lang="ru-RU" sz="1600" dirty="0">
              <a:latin typeface="+mn-lt"/>
              <a:cs typeface="Times New Roman" pitchFamily="18" charset="0"/>
            </a:rPr>
            <a:t>Пересмотр – актуализация алгоритмов</a:t>
          </a:r>
        </a:p>
      </dgm:t>
    </dgm:pt>
    <dgm:pt modelId="{5B060811-C0D2-457D-B055-87348C4D9DFA}" type="parTrans" cxnId="{F53B52B1-6242-452E-B1A0-C4EAE8C0BAC0}">
      <dgm:prSet/>
      <dgm:spPr/>
      <dgm:t>
        <a:bodyPr/>
        <a:lstStyle/>
        <a:p>
          <a:endParaRPr lang="ru-RU"/>
        </a:p>
      </dgm:t>
    </dgm:pt>
    <dgm:pt modelId="{9D6A0432-3027-484D-AE7B-FC04622EAA0E}" type="sibTrans" cxnId="{F53B52B1-6242-452E-B1A0-C4EAE8C0BAC0}">
      <dgm:prSet/>
      <dgm:spPr/>
      <dgm:t>
        <a:bodyPr/>
        <a:lstStyle/>
        <a:p>
          <a:endParaRPr lang="ru-RU"/>
        </a:p>
      </dgm:t>
    </dgm:pt>
    <dgm:pt modelId="{8E584565-FC11-4873-82EB-B02AA2D10010}">
      <dgm:prSet phldrT="[Текст]" custT="1"/>
      <dgm:spPr>
        <a:solidFill>
          <a:schemeClr val="accent3">
            <a:lumMod val="20000"/>
            <a:lumOff val="80000"/>
          </a:schemeClr>
        </a:solidFill>
        <a:ln>
          <a:noFill/>
        </a:ln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ru-RU" sz="1100" b="1" dirty="0">
              <a:latin typeface="+mn-lt"/>
              <a:cs typeface="Times New Roman" pitchFamily="18" charset="0"/>
            </a:rPr>
            <a:t>ГОСТ ИСО Гайд 35 </a:t>
          </a:r>
          <a:r>
            <a:rPr lang="ru-RU" sz="1100" dirty="0">
              <a:latin typeface="+mn-lt"/>
              <a:cs typeface="Times New Roman" pitchFamily="18" charset="0"/>
            </a:rPr>
            <a:t>Стандартные образцы – Руководство по характеризации и оцениванию однородности и стабильности – </a:t>
          </a:r>
          <a:r>
            <a:rPr lang="ru-RU" sz="1100" b="1" dirty="0">
              <a:solidFill>
                <a:srgbClr val="FF0000"/>
              </a:solidFill>
              <a:latin typeface="+mn-lt"/>
              <a:cs typeface="Times New Roman" pitchFamily="18" charset="0"/>
            </a:rPr>
            <a:t>Работы приостановлены</a:t>
          </a:r>
          <a:endParaRPr lang="ru-RU" sz="1100" b="1" dirty="0">
            <a:solidFill>
              <a:srgbClr val="FF0000"/>
            </a:solidFill>
            <a:latin typeface="+mn-lt"/>
          </a:endParaRPr>
        </a:p>
      </dgm:t>
    </dgm:pt>
    <dgm:pt modelId="{F2A94098-892C-40E2-B5F9-DED6EB33A559}" type="parTrans" cxnId="{2B9BCEDA-C21A-4655-97C2-4700343FA87D}">
      <dgm:prSet/>
      <dgm:spPr/>
      <dgm:t>
        <a:bodyPr/>
        <a:lstStyle/>
        <a:p>
          <a:endParaRPr lang="ru-RU"/>
        </a:p>
      </dgm:t>
    </dgm:pt>
    <dgm:pt modelId="{A2291A3B-A44F-412B-B1C6-0AB43666A22A}" type="sibTrans" cxnId="{2B9BCEDA-C21A-4655-97C2-4700343FA87D}">
      <dgm:prSet/>
      <dgm:spPr/>
      <dgm:t>
        <a:bodyPr/>
        <a:lstStyle/>
        <a:p>
          <a:endParaRPr lang="ru-RU"/>
        </a:p>
      </dgm:t>
    </dgm:pt>
    <dgm:pt modelId="{9E0F0B9A-A6CF-429F-AB20-65463B8311A2}">
      <dgm:prSet custT="1"/>
      <dgm:spPr>
        <a:solidFill>
          <a:schemeClr val="accent3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ru-RU" sz="1100" b="1" dirty="0">
              <a:latin typeface="+mn-lt"/>
              <a:cs typeface="Times New Roman" pitchFamily="18" charset="0"/>
            </a:rPr>
            <a:t>РМГ 53–2002 </a:t>
          </a:r>
          <a:r>
            <a:rPr lang="ru-RU" sz="1100" dirty="0">
              <a:latin typeface="+mn-lt"/>
              <a:cs typeface="Times New Roman" pitchFamily="18" charset="0"/>
            </a:rPr>
            <a:t>ГСИ. Стандартные образцы. Оценивание метрологических характеристик с использованием эталонов и образцовых средств измерений;</a:t>
          </a:r>
        </a:p>
      </dgm:t>
    </dgm:pt>
    <dgm:pt modelId="{3945289C-81A0-4758-A918-F10E5CE4C90A}" type="parTrans" cxnId="{4E54D4D7-1975-40B4-B1D7-E863B2CE57E3}">
      <dgm:prSet/>
      <dgm:spPr/>
      <dgm:t>
        <a:bodyPr/>
        <a:lstStyle/>
        <a:p>
          <a:endParaRPr lang="ru-RU"/>
        </a:p>
      </dgm:t>
    </dgm:pt>
    <dgm:pt modelId="{356462AA-DBD2-4191-9671-AF2177092518}" type="sibTrans" cxnId="{4E54D4D7-1975-40B4-B1D7-E863B2CE57E3}">
      <dgm:prSet/>
      <dgm:spPr/>
      <dgm:t>
        <a:bodyPr/>
        <a:lstStyle/>
        <a:p>
          <a:endParaRPr lang="ru-RU"/>
        </a:p>
      </dgm:t>
    </dgm:pt>
    <dgm:pt modelId="{80DA6DE0-AD77-4A2D-925A-8A3F270EED4A}">
      <dgm:prSet custT="1"/>
      <dgm:spPr>
        <a:solidFill>
          <a:schemeClr val="accent3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ru-RU" sz="1100" b="1" dirty="0">
              <a:latin typeface="+mn-lt"/>
              <a:cs typeface="Times New Roman" pitchFamily="18" charset="0"/>
            </a:rPr>
            <a:t>РМГ 55–2002 </a:t>
          </a:r>
          <a:r>
            <a:rPr lang="ru-RU" sz="1100" dirty="0">
              <a:latin typeface="+mn-lt"/>
              <a:cs typeface="Times New Roman" pitchFamily="18" charset="0"/>
            </a:rPr>
            <a:t>ГСИ. Стандартные образцы состава чистых органических веществ. Методы аттестации. Основные положения;</a:t>
          </a:r>
        </a:p>
      </dgm:t>
    </dgm:pt>
    <dgm:pt modelId="{9023DD32-21A2-48FF-9E22-783684C84CC8}" type="parTrans" cxnId="{0947F7A7-A4A8-45F6-8216-247F97193AF7}">
      <dgm:prSet/>
      <dgm:spPr/>
      <dgm:t>
        <a:bodyPr/>
        <a:lstStyle/>
        <a:p>
          <a:endParaRPr lang="ru-RU"/>
        </a:p>
      </dgm:t>
    </dgm:pt>
    <dgm:pt modelId="{3CBD25A2-75F4-4C09-BC93-268140FDCDFE}" type="sibTrans" cxnId="{0947F7A7-A4A8-45F6-8216-247F97193AF7}">
      <dgm:prSet/>
      <dgm:spPr/>
      <dgm:t>
        <a:bodyPr/>
        <a:lstStyle/>
        <a:p>
          <a:endParaRPr lang="ru-RU"/>
        </a:p>
      </dgm:t>
    </dgm:pt>
    <dgm:pt modelId="{FE4138D9-DFCF-4286-98BA-7DEBFE6B5D4B}">
      <dgm:prSet custT="1"/>
      <dgm:spPr>
        <a:solidFill>
          <a:schemeClr val="accent3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ru-RU" sz="1100" b="1" dirty="0">
              <a:latin typeface="+mn-lt"/>
              <a:cs typeface="Times New Roman" pitchFamily="18" charset="0"/>
            </a:rPr>
            <a:t>РМГ 56–2002 </a:t>
          </a:r>
          <a:r>
            <a:rPr lang="ru-RU" sz="1100" dirty="0">
              <a:latin typeface="+mn-lt"/>
              <a:cs typeface="Times New Roman" pitchFamily="18" charset="0"/>
            </a:rPr>
            <a:t>ГСИ. Комплекты стандартных образцов состава веществ и материалов. Методика взаимного сличения.</a:t>
          </a:r>
        </a:p>
      </dgm:t>
    </dgm:pt>
    <dgm:pt modelId="{0EAE0AF9-6725-49FC-BB6B-2D149153EF69}" type="parTrans" cxnId="{7693E754-0EC7-47EF-B17A-9F67A84D1D0B}">
      <dgm:prSet/>
      <dgm:spPr/>
      <dgm:t>
        <a:bodyPr/>
        <a:lstStyle/>
        <a:p>
          <a:endParaRPr lang="ru-RU"/>
        </a:p>
      </dgm:t>
    </dgm:pt>
    <dgm:pt modelId="{3AC93F12-B3EA-469D-8276-71FC5B592EE1}" type="sibTrans" cxnId="{7693E754-0EC7-47EF-B17A-9F67A84D1D0B}">
      <dgm:prSet/>
      <dgm:spPr/>
      <dgm:t>
        <a:bodyPr/>
        <a:lstStyle/>
        <a:p>
          <a:endParaRPr lang="ru-RU"/>
        </a:p>
      </dgm:t>
    </dgm:pt>
    <dgm:pt modelId="{47B2D035-44BC-4FA9-989D-56C987EB0105}">
      <dgm:prSet custT="1"/>
      <dgm:spPr>
        <a:solidFill>
          <a:schemeClr val="accent3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ru-RU" sz="1100" b="1" dirty="0">
              <a:latin typeface="+mn-lt"/>
              <a:cs typeface="Times New Roman" pitchFamily="18" charset="0"/>
            </a:rPr>
            <a:t>ГОСТ 8.531 </a:t>
          </a:r>
          <a:r>
            <a:rPr lang="ru-RU" sz="1100" dirty="0">
              <a:latin typeface="+mn-lt"/>
              <a:cs typeface="Times New Roman" pitchFamily="18" charset="0"/>
            </a:rPr>
            <a:t>ГСИ. Стандартные образцы состава монолитных и дисперсных материалов. Способы оценивания однородности</a:t>
          </a:r>
          <a:endParaRPr lang="en-US" sz="1100" dirty="0">
            <a:latin typeface="+mn-lt"/>
            <a:cs typeface="Times New Roman" pitchFamily="18" charset="0"/>
          </a:endParaRPr>
        </a:p>
      </dgm:t>
    </dgm:pt>
    <dgm:pt modelId="{1AFB1D15-68B4-441E-9F50-90EE093552F9}" type="parTrans" cxnId="{0047C98B-D7FD-4CC2-8764-73BCB70A1601}">
      <dgm:prSet/>
      <dgm:spPr/>
      <dgm:t>
        <a:bodyPr/>
        <a:lstStyle/>
        <a:p>
          <a:endParaRPr lang="ru-RU"/>
        </a:p>
      </dgm:t>
    </dgm:pt>
    <dgm:pt modelId="{CF2FF309-3E63-489A-B76E-A09656B335CC}" type="sibTrans" cxnId="{0047C98B-D7FD-4CC2-8764-73BCB70A1601}">
      <dgm:prSet/>
      <dgm:spPr/>
      <dgm:t>
        <a:bodyPr/>
        <a:lstStyle/>
        <a:p>
          <a:endParaRPr lang="ru-RU"/>
        </a:p>
      </dgm:t>
    </dgm:pt>
    <dgm:pt modelId="{A18A871A-6F1E-4218-87EC-7A28C658FFD9}">
      <dgm:prSet custT="1"/>
      <dgm:spPr>
        <a:solidFill>
          <a:schemeClr val="accent3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ru-RU" sz="1100" b="1" dirty="0">
              <a:latin typeface="+mn-lt"/>
              <a:cs typeface="Times New Roman" pitchFamily="18" charset="0"/>
            </a:rPr>
            <a:t>Р 50.2.031</a:t>
          </a:r>
          <a:r>
            <a:rPr lang="en-US" sz="1100" b="1" dirty="0">
              <a:latin typeface="+mn-lt"/>
              <a:cs typeface="Times New Roman" pitchFamily="18" charset="0"/>
            </a:rPr>
            <a:t> </a:t>
          </a:r>
          <a:r>
            <a:rPr lang="en-US" sz="1100" dirty="0">
              <a:latin typeface="+mn-lt"/>
              <a:cs typeface="Times New Roman" pitchFamily="18" charset="0"/>
            </a:rPr>
            <a:t>ГСИ. </a:t>
          </a:r>
          <a:r>
            <a:rPr lang="ru-RU" sz="1100" dirty="0">
              <a:latin typeface="+mn-lt"/>
              <a:cs typeface="Times New Roman" pitchFamily="18" charset="0"/>
            </a:rPr>
            <a:t>Стандартные образцы состава и свойств веществ и материалов</a:t>
          </a:r>
          <a:r>
            <a:rPr lang="en-US" sz="1100" dirty="0">
              <a:latin typeface="+mn-lt"/>
              <a:cs typeface="Times New Roman" pitchFamily="18" charset="0"/>
            </a:rPr>
            <a:t>. </a:t>
          </a:r>
          <a:r>
            <a:rPr lang="ru-RU" sz="1100" dirty="0">
              <a:latin typeface="+mn-lt"/>
              <a:cs typeface="Times New Roman" pitchFamily="18" charset="0"/>
            </a:rPr>
            <a:t>Методика оценивания характеристики стабильности</a:t>
          </a:r>
        </a:p>
      </dgm:t>
    </dgm:pt>
    <dgm:pt modelId="{98C24DF3-9A23-4C67-B7B7-783398A94F50}" type="parTrans" cxnId="{BD8A68D8-532E-49AF-9689-D00B9F165245}">
      <dgm:prSet/>
      <dgm:spPr/>
      <dgm:t>
        <a:bodyPr/>
        <a:lstStyle/>
        <a:p>
          <a:endParaRPr lang="ru-RU"/>
        </a:p>
      </dgm:t>
    </dgm:pt>
    <dgm:pt modelId="{50622C34-D954-4504-A83D-739E2BF48A53}" type="sibTrans" cxnId="{BD8A68D8-532E-49AF-9689-D00B9F165245}">
      <dgm:prSet/>
      <dgm:spPr/>
      <dgm:t>
        <a:bodyPr/>
        <a:lstStyle/>
        <a:p>
          <a:endParaRPr lang="ru-RU"/>
        </a:p>
      </dgm:t>
    </dgm:pt>
    <dgm:pt modelId="{29BF0AED-BC46-4CFF-BF1F-7573F96F0AF4}">
      <dgm:prSet custT="1"/>
      <dgm:spPr>
        <a:solidFill>
          <a:schemeClr val="accent3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ru-RU" sz="1100" b="1" dirty="0">
              <a:latin typeface="+mn-lt"/>
              <a:cs typeface="Times New Roman" pitchFamily="18" charset="0"/>
            </a:rPr>
            <a:t>ГОСТ 8.532 </a:t>
          </a:r>
          <a:r>
            <a:rPr lang="ru-RU" sz="1100" dirty="0">
              <a:latin typeface="+mn-lt"/>
              <a:cs typeface="Times New Roman" pitchFamily="18" charset="0"/>
            </a:rPr>
            <a:t>ГСИ. Стандартные образцы состава веществ и материалов. Межлабораторная метрологическая аттестация.</a:t>
          </a:r>
        </a:p>
      </dgm:t>
    </dgm:pt>
    <dgm:pt modelId="{25404025-BBCD-4E24-BF71-2B6A017372BF}" type="parTrans" cxnId="{A954DD04-8C16-4B2D-BC48-9E3F6D2E86D6}">
      <dgm:prSet/>
      <dgm:spPr/>
      <dgm:t>
        <a:bodyPr/>
        <a:lstStyle/>
        <a:p>
          <a:endParaRPr lang="ru-RU"/>
        </a:p>
      </dgm:t>
    </dgm:pt>
    <dgm:pt modelId="{3EC12221-1381-4CCF-A540-2BC1F557A3AF}" type="sibTrans" cxnId="{A954DD04-8C16-4B2D-BC48-9E3F6D2E86D6}">
      <dgm:prSet/>
      <dgm:spPr/>
      <dgm:t>
        <a:bodyPr/>
        <a:lstStyle/>
        <a:p>
          <a:endParaRPr lang="ru-RU"/>
        </a:p>
      </dgm:t>
    </dgm:pt>
    <dgm:pt modelId="{7555FC7F-4976-4504-B2F1-D21AC7325B0E}">
      <dgm:prSet custT="1"/>
      <dgm:spPr>
        <a:solidFill>
          <a:srgbClr val="004E6B"/>
        </a:solidFill>
      </dgm:spPr>
      <dgm:t>
        <a:bodyPr/>
        <a:lstStyle/>
        <a:p>
          <a:r>
            <a:rPr lang="ru-RU" sz="1600" dirty="0">
              <a:latin typeface="+mn-lt"/>
              <a:cs typeface="Times New Roman" pitchFamily="18" charset="0"/>
            </a:rPr>
            <a:t>Перевод международных стандартов на русский язык и официальная регистрация перевода</a:t>
          </a:r>
        </a:p>
      </dgm:t>
    </dgm:pt>
    <dgm:pt modelId="{F3406314-9B7A-46D8-9333-02FAC0A4682D}" type="parTrans" cxnId="{66380202-62B1-4590-9D0F-9D298527B678}">
      <dgm:prSet/>
      <dgm:spPr/>
      <dgm:t>
        <a:bodyPr/>
        <a:lstStyle/>
        <a:p>
          <a:endParaRPr lang="ru-RU"/>
        </a:p>
      </dgm:t>
    </dgm:pt>
    <dgm:pt modelId="{01168B5E-FBD7-42EC-B5B9-BF590DEAD4A3}" type="sibTrans" cxnId="{66380202-62B1-4590-9D0F-9D298527B678}">
      <dgm:prSet/>
      <dgm:spPr/>
      <dgm:t>
        <a:bodyPr/>
        <a:lstStyle/>
        <a:p>
          <a:endParaRPr lang="ru-RU"/>
        </a:p>
      </dgm:t>
    </dgm:pt>
    <dgm:pt modelId="{43E92D98-15E3-4A68-812D-8E458ADF49C1}">
      <dgm:prSet custT="1"/>
      <dgm:spPr>
        <a:solidFill>
          <a:schemeClr val="accent3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en-US" sz="1200" b="1" i="0" dirty="0">
              <a:latin typeface="+mn-lt"/>
            </a:rPr>
            <a:t>ISO</a:t>
          </a:r>
          <a:r>
            <a:rPr lang="ru-RU" sz="1200" b="1" i="0" dirty="0">
              <a:latin typeface="+mn-lt"/>
            </a:rPr>
            <a:t> 33401 </a:t>
          </a:r>
          <a:r>
            <a:rPr lang="ru-RU" sz="1200" b="0" i="0" dirty="0">
              <a:latin typeface="+mn-lt"/>
            </a:rPr>
            <a:t>Стандартные образцы. Содержание сертификатов, этикеток и сопроводительной документации (</a:t>
          </a:r>
          <a:r>
            <a:rPr lang="en-US" sz="1200" b="0" i="1" dirty="0">
              <a:latin typeface="+mn-lt"/>
            </a:rPr>
            <a:t>Reference materials — Contents of certificates, labels and accompanying documentation</a:t>
          </a:r>
          <a:r>
            <a:rPr lang="ru-RU" sz="1200" b="0" i="0" dirty="0">
              <a:latin typeface="+mn-lt"/>
            </a:rPr>
            <a:t>)</a:t>
          </a:r>
        </a:p>
      </dgm:t>
    </dgm:pt>
    <dgm:pt modelId="{41991C3B-1758-42B9-B84C-B4B9D10D1631}" type="parTrans" cxnId="{992B5A65-4C86-4F28-815B-3F6F81D5AB3B}">
      <dgm:prSet/>
      <dgm:spPr/>
      <dgm:t>
        <a:bodyPr/>
        <a:lstStyle/>
        <a:p>
          <a:endParaRPr lang="ru-RU"/>
        </a:p>
      </dgm:t>
    </dgm:pt>
    <dgm:pt modelId="{A5867D58-EC93-458E-9DC4-303EDD5C9A76}" type="sibTrans" cxnId="{992B5A65-4C86-4F28-815B-3F6F81D5AB3B}">
      <dgm:prSet/>
      <dgm:spPr/>
      <dgm:t>
        <a:bodyPr/>
        <a:lstStyle/>
        <a:p>
          <a:endParaRPr lang="ru-RU"/>
        </a:p>
      </dgm:t>
    </dgm:pt>
    <dgm:pt modelId="{BCB474FB-1768-420C-B208-25239D36C53C}">
      <dgm:prSet custT="1"/>
      <dgm:spPr>
        <a:solidFill>
          <a:schemeClr val="accent3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en-US" sz="1200" b="1" i="0" dirty="0"/>
            <a:t>ISO</a:t>
          </a:r>
          <a:r>
            <a:rPr lang="ru-RU" sz="1200" b="1" i="0" dirty="0"/>
            <a:t> 33403 </a:t>
          </a:r>
          <a:r>
            <a:rPr lang="ru-RU" sz="1200" b="0" i="0" dirty="0"/>
            <a:t>Стандартные образцы. Требования и рекомендации по применению (</a:t>
          </a:r>
          <a:r>
            <a:rPr lang="en-US" sz="1200" b="0" i="1" dirty="0"/>
            <a:t>Reference materials — Requirements and recommendations for use</a:t>
          </a:r>
          <a:r>
            <a:rPr lang="ru-RU" sz="1200" b="0" i="0" dirty="0"/>
            <a:t>)</a:t>
          </a:r>
          <a:endParaRPr lang="ru-RU" sz="1200" b="0" i="0" dirty="0">
            <a:latin typeface="+mn-lt"/>
          </a:endParaRPr>
        </a:p>
      </dgm:t>
    </dgm:pt>
    <dgm:pt modelId="{160883B5-6A87-4105-B1BE-ADD0B8609574}" type="parTrans" cxnId="{0B239628-4DEA-49E0-99D0-72004A158E7D}">
      <dgm:prSet/>
      <dgm:spPr/>
      <dgm:t>
        <a:bodyPr/>
        <a:lstStyle/>
        <a:p>
          <a:endParaRPr lang="ru-RU"/>
        </a:p>
      </dgm:t>
    </dgm:pt>
    <dgm:pt modelId="{E3FBFE18-6B01-421B-8F9E-22DE69802485}" type="sibTrans" cxnId="{0B239628-4DEA-49E0-99D0-72004A158E7D}">
      <dgm:prSet/>
      <dgm:spPr/>
      <dgm:t>
        <a:bodyPr/>
        <a:lstStyle/>
        <a:p>
          <a:endParaRPr lang="ru-RU"/>
        </a:p>
      </dgm:t>
    </dgm:pt>
    <dgm:pt modelId="{7EF0FC80-B5A0-4642-8426-19B2FE6FCE4C}">
      <dgm:prSet custT="1"/>
      <dgm:spPr>
        <a:solidFill>
          <a:schemeClr val="accent3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en-US" sz="1200" b="1" dirty="0"/>
            <a:t>ISO</a:t>
          </a:r>
          <a:r>
            <a:rPr lang="ru-RU" sz="1200" b="1" dirty="0"/>
            <a:t> 33407 </a:t>
          </a:r>
          <a:r>
            <a:rPr lang="ru-RU" sz="1200" b="0" dirty="0"/>
            <a:t>Руководство по производству сертифицированных стандартных образцов чистых органических веществ (</a:t>
          </a:r>
          <a:r>
            <a:rPr lang="en-US" sz="1200" b="0" i="1" dirty="0"/>
            <a:t>Guidance for the production of pure organic substance certified reference materials</a:t>
          </a:r>
          <a:r>
            <a:rPr lang="ru-RU" sz="1200" b="0" i="1" dirty="0"/>
            <a:t>)</a:t>
          </a:r>
          <a:endParaRPr lang="ru-RU" sz="1200" b="0" i="0" dirty="0">
            <a:latin typeface="+mn-lt"/>
          </a:endParaRPr>
        </a:p>
      </dgm:t>
    </dgm:pt>
    <dgm:pt modelId="{3D43EB18-1BEB-42ED-99C6-22D06B6298CD}" type="parTrans" cxnId="{E46F83B6-43A3-4CA7-9CD3-1C1742AA7710}">
      <dgm:prSet/>
      <dgm:spPr/>
      <dgm:t>
        <a:bodyPr/>
        <a:lstStyle/>
        <a:p>
          <a:endParaRPr lang="ru-RU"/>
        </a:p>
      </dgm:t>
    </dgm:pt>
    <dgm:pt modelId="{738E5886-4F1D-455C-9252-3661A86B2A67}" type="sibTrans" cxnId="{E46F83B6-43A3-4CA7-9CD3-1C1742AA7710}">
      <dgm:prSet/>
      <dgm:spPr/>
      <dgm:t>
        <a:bodyPr/>
        <a:lstStyle/>
        <a:p>
          <a:endParaRPr lang="ru-RU"/>
        </a:p>
      </dgm:t>
    </dgm:pt>
    <dgm:pt modelId="{00842288-94DD-4834-BA96-A0AF7EC86467}" type="pres">
      <dgm:prSet presAssocID="{000BCEC6-5765-4D5F-9B00-199E4F25523D}" presName="Name0" presStyleCnt="0">
        <dgm:presLayoutVars>
          <dgm:dir val="rev"/>
          <dgm:animLvl val="lvl"/>
          <dgm:resizeHandles val="exact"/>
        </dgm:presLayoutVars>
      </dgm:prSet>
      <dgm:spPr/>
    </dgm:pt>
    <dgm:pt modelId="{7BE36655-02C2-456F-873E-A294D87CD127}" type="pres">
      <dgm:prSet presAssocID="{3214497A-C761-42FB-91C8-383DC147C5C6}" presName="linNode" presStyleCnt="0"/>
      <dgm:spPr/>
    </dgm:pt>
    <dgm:pt modelId="{D6D3E000-45A7-4622-B7D4-FA16CD3AF9EE}" type="pres">
      <dgm:prSet presAssocID="{3214497A-C761-42FB-91C8-383DC147C5C6}" presName="parentText" presStyleLbl="node1" presStyleIdx="0" presStyleCnt="4" custScaleY="38253">
        <dgm:presLayoutVars>
          <dgm:chMax val="1"/>
          <dgm:bulletEnabled val="1"/>
        </dgm:presLayoutVars>
      </dgm:prSet>
      <dgm:spPr/>
    </dgm:pt>
    <dgm:pt modelId="{59C90923-286E-4F0A-8CDE-2CA62B209158}" type="pres">
      <dgm:prSet presAssocID="{3214497A-C761-42FB-91C8-383DC147C5C6}" presName="descendantText" presStyleLbl="alignAccFollowNode1" presStyleIdx="0" presStyleCnt="4" custScaleY="35090">
        <dgm:presLayoutVars>
          <dgm:bulletEnabled val="1"/>
        </dgm:presLayoutVars>
      </dgm:prSet>
      <dgm:spPr/>
    </dgm:pt>
    <dgm:pt modelId="{193E09BB-FBB4-49D9-9511-77C3F309067A}" type="pres">
      <dgm:prSet presAssocID="{364C040A-E044-4FDC-8493-31AE84D418DA}" presName="sp" presStyleCnt="0"/>
      <dgm:spPr/>
    </dgm:pt>
    <dgm:pt modelId="{406A46B9-2A30-457D-8E26-20E3CCB917A2}" type="pres">
      <dgm:prSet presAssocID="{8337FF5E-FA61-49C5-92B2-AAB11A9A69D8}" presName="linNode" presStyleCnt="0"/>
      <dgm:spPr/>
    </dgm:pt>
    <dgm:pt modelId="{A6891768-DF32-4670-A1A3-33FF5EE47B0F}" type="pres">
      <dgm:prSet presAssocID="{8337FF5E-FA61-49C5-92B2-AAB11A9A69D8}" presName="parentText" presStyleLbl="node1" presStyleIdx="1" presStyleCnt="4" custScaleY="90700">
        <dgm:presLayoutVars>
          <dgm:chMax val="1"/>
          <dgm:bulletEnabled val="1"/>
        </dgm:presLayoutVars>
      </dgm:prSet>
      <dgm:spPr/>
    </dgm:pt>
    <dgm:pt modelId="{269B12BD-C4D4-48A3-9E84-99F5A86DF614}" type="pres">
      <dgm:prSet presAssocID="{8337FF5E-FA61-49C5-92B2-AAB11A9A69D8}" presName="descendantText" presStyleLbl="alignAccFollowNode1" presStyleIdx="1" presStyleCnt="4" custScaleY="113606">
        <dgm:presLayoutVars>
          <dgm:bulletEnabled val="1"/>
        </dgm:presLayoutVars>
      </dgm:prSet>
      <dgm:spPr/>
    </dgm:pt>
    <dgm:pt modelId="{4C5107CC-306B-4BA8-87DF-8B83B5C5CF94}" type="pres">
      <dgm:prSet presAssocID="{8B70BFF3-DB4C-47E2-9240-7BCAD882E819}" presName="sp" presStyleCnt="0"/>
      <dgm:spPr/>
    </dgm:pt>
    <dgm:pt modelId="{84EBF4A2-9E8F-412B-A838-52AF2AFB8D90}" type="pres">
      <dgm:prSet presAssocID="{E3371320-4FB1-4D37-9D80-1FFD0619C78F}" presName="linNode" presStyleCnt="0"/>
      <dgm:spPr/>
    </dgm:pt>
    <dgm:pt modelId="{FA4F5111-480D-43A8-88B4-E25E7363AE26}" type="pres">
      <dgm:prSet presAssocID="{E3371320-4FB1-4D37-9D80-1FFD0619C78F}" presName="parentText" presStyleLbl="node1" presStyleIdx="2" presStyleCnt="4" custScaleY="113432">
        <dgm:presLayoutVars>
          <dgm:chMax val="1"/>
          <dgm:bulletEnabled val="1"/>
        </dgm:presLayoutVars>
      </dgm:prSet>
      <dgm:spPr/>
    </dgm:pt>
    <dgm:pt modelId="{4ED9EE4D-4725-4B13-AFA4-6109348BFB33}" type="pres">
      <dgm:prSet presAssocID="{E3371320-4FB1-4D37-9D80-1FFD0619C78F}" presName="descendantText" presStyleLbl="alignAccFollowNode1" presStyleIdx="2" presStyleCnt="4" custScaleY="140722">
        <dgm:presLayoutVars>
          <dgm:bulletEnabled val="1"/>
        </dgm:presLayoutVars>
      </dgm:prSet>
      <dgm:spPr/>
    </dgm:pt>
    <dgm:pt modelId="{6DBFD087-D45B-4962-ADD7-5877FA60428F}" type="pres">
      <dgm:prSet presAssocID="{9D6A0432-3027-484D-AE7B-FC04622EAA0E}" presName="sp" presStyleCnt="0"/>
      <dgm:spPr/>
    </dgm:pt>
    <dgm:pt modelId="{482A07ED-127A-4497-B841-34FEF0E44C71}" type="pres">
      <dgm:prSet presAssocID="{7555FC7F-4976-4504-B2F1-D21AC7325B0E}" presName="linNode" presStyleCnt="0"/>
      <dgm:spPr/>
    </dgm:pt>
    <dgm:pt modelId="{16CB1D80-65F2-446D-992A-B33924145583}" type="pres">
      <dgm:prSet presAssocID="{7555FC7F-4976-4504-B2F1-D21AC7325B0E}" presName="parentText" presStyleLbl="node1" presStyleIdx="3" presStyleCnt="4" custScaleY="69869" custLinFactNeighborX="-298" custLinFactNeighborY="-9480">
        <dgm:presLayoutVars>
          <dgm:chMax val="1"/>
          <dgm:bulletEnabled val="1"/>
        </dgm:presLayoutVars>
      </dgm:prSet>
      <dgm:spPr/>
    </dgm:pt>
    <dgm:pt modelId="{92AF9827-2EB4-4277-B9B0-DC559993F063}" type="pres">
      <dgm:prSet presAssocID="{7555FC7F-4976-4504-B2F1-D21AC7325B0E}" presName="descendantText" presStyleLbl="alignAccFollowNode1" presStyleIdx="3" presStyleCnt="4" custScaleY="116737" custLinFactNeighborX="264" custLinFactNeighborY="-2582">
        <dgm:presLayoutVars>
          <dgm:bulletEnabled val="1"/>
        </dgm:presLayoutVars>
      </dgm:prSet>
      <dgm:spPr/>
    </dgm:pt>
  </dgm:ptLst>
  <dgm:cxnLst>
    <dgm:cxn modelId="{66380202-62B1-4590-9D0F-9D298527B678}" srcId="{000BCEC6-5765-4D5F-9B00-199E4F25523D}" destId="{7555FC7F-4976-4504-B2F1-D21AC7325B0E}" srcOrd="3" destOrd="0" parTransId="{F3406314-9B7A-46D8-9333-02FAC0A4682D}" sibTransId="{01168B5E-FBD7-42EC-B5B9-BF590DEAD4A3}"/>
    <dgm:cxn modelId="{A954DD04-8C16-4B2D-BC48-9E3F6D2E86D6}" srcId="{E3371320-4FB1-4D37-9D80-1FFD0619C78F}" destId="{29BF0AED-BC46-4CFF-BF1F-7573F96F0AF4}" srcOrd="3" destOrd="0" parTransId="{25404025-BBCD-4E24-BF71-2B6A017372BF}" sibTransId="{3EC12221-1381-4CCF-A540-2BC1F557A3AF}"/>
    <dgm:cxn modelId="{86A1A606-A612-4FD1-991B-DB2C6B9072F7}" srcId="{3214497A-C761-42FB-91C8-383DC147C5C6}" destId="{AB58A18F-4117-451F-9516-1641AE418607}" srcOrd="0" destOrd="0" parTransId="{6BDA287F-AED7-4A18-A8F8-7FE212FF55D8}" sibTransId="{1F9B5666-6810-4A0F-857F-546DFB746B45}"/>
    <dgm:cxn modelId="{0B3BDA0A-ACA6-4ED8-B1F3-85683BD894F1}" type="presOf" srcId="{3214497A-C761-42FB-91C8-383DC147C5C6}" destId="{D6D3E000-45A7-4622-B7D4-FA16CD3AF9EE}" srcOrd="0" destOrd="0" presId="urn:microsoft.com/office/officeart/2005/8/layout/vList5"/>
    <dgm:cxn modelId="{3AAD4C23-96BA-4FEE-9A88-9CA2B09EC7FD}" type="presOf" srcId="{A18A871A-6F1E-4218-87EC-7A28C658FFD9}" destId="{4ED9EE4D-4725-4B13-AFA4-6109348BFB33}" srcOrd="0" destOrd="2" presId="urn:microsoft.com/office/officeart/2005/8/layout/vList5"/>
    <dgm:cxn modelId="{0B239628-4DEA-49E0-99D0-72004A158E7D}" srcId="{7555FC7F-4976-4504-B2F1-D21AC7325B0E}" destId="{BCB474FB-1768-420C-B208-25239D36C53C}" srcOrd="1" destOrd="0" parTransId="{160883B5-6A87-4105-B1BE-ADD0B8609574}" sibTransId="{E3FBFE18-6B01-421B-8F9E-22DE69802485}"/>
    <dgm:cxn modelId="{A20FEC2C-F9A7-425E-B0CC-41AB59F387F1}" type="presOf" srcId="{4D4140EA-1A22-4118-B57C-5997F08B803B}" destId="{269B12BD-C4D4-48A3-9E84-99F5A86DF614}" srcOrd="0" destOrd="0" presId="urn:microsoft.com/office/officeart/2005/8/layout/vList5"/>
    <dgm:cxn modelId="{020C505C-D5E3-405C-9179-C0DD82DCF126}" type="presOf" srcId="{BCB474FB-1768-420C-B208-25239D36C53C}" destId="{92AF9827-2EB4-4277-B9B0-DC559993F063}" srcOrd="0" destOrd="1" presId="urn:microsoft.com/office/officeart/2005/8/layout/vList5"/>
    <dgm:cxn modelId="{992B5A65-4C86-4F28-815B-3F6F81D5AB3B}" srcId="{7555FC7F-4976-4504-B2F1-D21AC7325B0E}" destId="{43E92D98-15E3-4A68-812D-8E458ADF49C1}" srcOrd="0" destOrd="0" parTransId="{41991C3B-1758-42B9-B84C-B4B9D10D1631}" sibTransId="{A5867D58-EC93-458E-9DC4-303EDD5C9A76}"/>
    <dgm:cxn modelId="{F1762A69-2087-484D-868B-77A27050ACB8}" type="presOf" srcId="{9E0F0B9A-A6CF-429F-AB20-65463B8311A2}" destId="{269B12BD-C4D4-48A3-9E84-99F5A86DF614}" srcOrd="0" destOrd="1" presId="urn:microsoft.com/office/officeart/2005/8/layout/vList5"/>
    <dgm:cxn modelId="{CFD7E24A-68AD-44F7-9F0E-8316BE0D6158}" type="presOf" srcId="{8E584565-FC11-4873-82EB-B02AA2D10010}" destId="{4ED9EE4D-4725-4B13-AFA4-6109348BFB33}" srcOrd="0" destOrd="0" presId="urn:microsoft.com/office/officeart/2005/8/layout/vList5"/>
    <dgm:cxn modelId="{4636374B-24EE-4312-BFC8-7B2D544F3234}" type="presOf" srcId="{7EF0FC80-B5A0-4642-8426-19B2FE6FCE4C}" destId="{92AF9827-2EB4-4277-B9B0-DC559993F063}" srcOrd="0" destOrd="2" presId="urn:microsoft.com/office/officeart/2005/8/layout/vList5"/>
    <dgm:cxn modelId="{B88FE64F-94F3-492E-A40A-61E5642FD495}" type="presOf" srcId="{47B2D035-44BC-4FA9-989D-56C987EB0105}" destId="{4ED9EE4D-4725-4B13-AFA4-6109348BFB33}" srcOrd="0" destOrd="1" presId="urn:microsoft.com/office/officeart/2005/8/layout/vList5"/>
    <dgm:cxn modelId="{7693E754-0EC7-47EF-B17A-9F67A84D1D0B}" srcId="{8337FF5E-FA61-49C5-92B2-AAB11A9A69D8}" destId="{FE4138D9-DFCF-4286-98BA-7DEBFE6B5D4B}" srcOrd="3" destOrd="0" parTransId="{0EAE0AF9-6725-49FC-BB6B-2D149153EF69}" sibTransId="{3AC93F12-B3EA-469D-8276-71FC5B592EE1}"/>
    <dgm:cxn modelId="{86E10586-B35C-42E4-A130-B4FD76529F04}" type="presOf" srcId="{80DA6DE0-AD77-4A2D-925A-8A3F270EED4A}" destId="{269B12BD-C4D4-48A3-9E84-99F5A86DF614}" srcOrd="0" destOrd="2" presId="urn:microsoft.com/office/officeart/2005/8/layout/vList5"/>
    <dgm:cxn modelId="{0047C98B-D7FD-4CC2-8764-73BCB70A1601}" srcId="{E3371320-4FB1-4D37-9D80-1FFD0619C78F}" destId="{47B2D035-44BC-4FA9-989D-56C987EB0105}" srcOrd="1" destOrd="0" parTransId="{1AFB1D15-68B4-441E-9F50-90EE093552F9}" sibTransId="{CF2FF309-3E63-489A-B76E-A09656B335CC}"/>
    <dgm:cxn modelId="{7B7C2C99-0680-4A05-9FF0-2DADE2ECB0DD}" type="presOf" srcId="{7555FC7F-4976-4504-B2F1-D21AC7325B0E}" destId="{16CB1D80-65F2-446D-992A-B33924145583}" srcOrd="0" destOrd="0" presId="urn:microsoft.com/office/officeart/2005/8/layout/vList5"/>
    <dgm:cxn modelId="{7EBCEA9D-2A93-4AC9-9F73-81ED0B81AA42}" type="presOf" srcId="{FE4138D9-DFCF-4286-98BA-7DEBFE6B5D4B}" destId="{269B12BD-C4D4-48A3-9E84-99F5A86DF614}" srcOrd="0" destOrd="3" presId="urn:microsoft.com/office/officeart/2005/8/layout/vList5"/>
    <dgm:cxn modelId="{E73808A4-9DCB-43EE-B910-03F179557A73}" type="presOf" srcId="{29BF0AED-BC46-4CFF-BF1F-7573F96F0AF4}" destId="{4ED9EE4D-4725-4B13-AFA4-6109348BFB33}" srcOrd="0" destOrd="3" presId="urn:microsoft.com/office/officeart/2005/8/layout/vList5"/>
    <dgm:cxn modelId="{0ED032A5-BD28-4B5D-AE8E-2DA9713E7E3E}" srcId="{000BCEC6-5765-4D5F-9B00-199E4F25523D}" destId="{3214497A-C761-42FB-91C8-383DC147C5C6}" srcOrd="0" destOrd="0" parTransId="{BF1F54F1-927C-475F-AE02-AE56AF262A88}" sibTransId="{364C040A-E044-4FDC-8493-31AE84D418DA}"/>
    <dgm:cxn modelId="{0947F7A7-A4A8-45F6-8216-247F97193AF7}" srcId="{8337FF5E-FA61-49C5-92B2-AAB11A9A69D8}" destId="{80DA6DE0-AD77-4A2D-925A-8A3F270EED4A}" srcOrd="2" destOrd="0" parTransId="{9023DD32-21A2-48FF-9E22-783684C84CC8}" sibTransId="{3CBD25A2-75F4-4C09-BC93-268140FDCDFE}"/>
    <dgm:cxn modelId="{2AAE5EAD-CC78-443E-8EBB-FC98AE56A368}" type="presOf" srcId="{8337FF5E-FA61-49C5-92B2-AAB11A9A69D8}" destId="{A6891768-DF32-4670-A1A3-33FF5EE47B0F}" srcOrd="0" destOrd="0" presId="urn:microsoft.com/office/officeart/2005/8/layout/vList5"/>
    <dgm:cxn modelId="{F53B52B1-6242-452E-B1A0-C4EAE8C0BAC0}" srcId="{000BCEC6-5765-4D5F-9B00-199E4F25523D}" destId="{E3371320-4FB1-4D37-9D80-1FFD0619C78F}" srcOrd="2" destOrd="0" parTransId="{5B060811-C0D2-457D-B055-87348C4D9DFA}" sibTransId="{9D6A0432-3027-484D-AE7B-FC04622EAA0E}"/>
    <dgm:cxn modelId="{B1BD4BB2-420D-48EB-83CB-AF556B1D979E}" type="presOf" srcId="{43E92D98-15E3-4A68-812D-8E458ADF49C1}" destId="{92AF9827-2EB4-4277-B9B0-DC559993F063}" srcOrd="0" destOrd="0" presId="urn:microsoft.com/office/officeart/2005/8/layout/vList5"/>
    <dgm:cxn modelId="{C44726B3-8DCA-4BA8-9E73-20734A245C76}" srcId="{8337FF5E-FA61-49C5-92B2-AAB11A9A69D8}" destId="{4D4140EA-1A22-4118-B57C-5997F08B803B}" srcOrd="0" destOrd="0" parTransId="{00274EAC-3339-4525-B343-161CE25C5270}" sibTransId="{F180DEDC-ED4D-48C7-BA6E-E313198A053D}"/>
    <dgm:cxn modelId="{E46F83B6-43A3-4CA7-9CD3-1C1742AA7710}" srcId="{7555FC7F-4976-4504-B2F1-D21AC7325B0E}" destId="{7EF0FC80-B5A0-4642-8426-19B2FE6FCE4C}" srcOrd="2" destOrd="0" parTransId="{3D43EB18-1BEB-42ED-99C6-22D06B6298CD}" sibTransId="{738E5886-4F1D-455C-9252-3661A86B2A67}"/>
    <dgm:cxn modelId="{7D002DCE-3FD6-407F-9565-5ABA27226D04}" srcId="{000BCEC6-5765-4D5F-9B00-199E4F25523D}" destId="{8337FF5E-FA61-49C5-92B2-AAB11A9A69D8}" srcOrd="1" destOrd="0" parTransId="{9E7AC00B-48CA-4182-AF6C-C1F23C8A2E80}" sibTransId="{8B70BFF3-DB4C-47E2-9240-7BCAD882E819}"/>
    <dgm:cxn modelId="{A5EB59D3-0C32-44DB-AEDC-E7C00FEDD6FA}" type="presOf" srcId="{AB58A18F-4117-451F-9516-1641AE418607}" destId="{59C90923-286E-4F0A-8CDE-2CA62B209158}" srcOrd="0" destOrd="0" presId="urn:microsoft.com/office/officeart/2005/8/layout/vList5"/>
    <dgm:cxn modelId="{4E54D4D7-1975-40B4-B1D7-E863B2CE57E3}" srcId="{8337FF5E-FA61-49C5-92B2-AAB11A9A69D8}" destId="{9E0F0B9A-A6CF-429F-AB20-65463B8311A2}" srcOrd="1" destOrd="0" parTransId="{3945289C-81A0-4758-A918-F10E5CE4C90A}" sibTransId="{356462AA-DBD2-4191-9671-AF2177092518}"/>
    <dgm:cxn modelId="{BD8A68D8-532E-49AF-9689-D00B9F165245}" srcId="{E3371320-4FB1-4D37-9D80-1FFD0619C78F}" destId="{A18A871A-6F1E-4218-87EC-7A28C658FFD9}" srcOrd="2" destOrd="0" parTransId="{98C24DF3-9A23-4C67-B7B7-783398A94F50}" sibTransId="{50622C34-D954-4504-A83D-739E2BF48A53}"/>
    <dgm:cxn modelId="{2B9BCEDA-C21A-4655-97C2-4700343FA87D}" srcId="{E3371320-4FB1-4D37-9D80-1FFD0619C78F}" destId="{8E584565-FC11-4873-82EB-B02AA2D10010}" srcOrd="0" destOrd="0" parTransId="{F2A94098-892C-40E2-B5F9-DED6EB33A559}" sibTransId="{A2291A3B-A44F-412B-B1C6-0AB43666A22A}"/>
    <dgm:cxn modelId="{208F1FEA-0847-4A9B-A438-8BA2259D8FBD}" type="presOf" srcId="{E3371320-4FB1-4D37-9D80-1FFD0619C78F}" destId="{FA4F5111-480D-43A8-88B4-E25E7363AE26}" srcOrd="0" destOrd="0" presId="urn:microsoft.com/office/officeart/2005/8/layout/vList5"/>
    <dgm:cxn modelId="{22B74BF7-A968-4728-BBB5-C77691075153}" type="presOf" srcId="{000BCEC6-5765-4D5F-9B00-199E4F25523D}" destId="{00842288-94DD-4834-BA96-A0AF7EC86467}" srcOrd="0" destOrd="0" presId="urn:microsoft.com/office/officeart/2005/8/layout/vList5"/>
    <dgm:cxn modelId="{6F6AD11B-F488-4E1C-901A-8214FA6A7B82}" type="presParOf" srcId="{00842288-94DD-4834-BA96-A0AF7EC86467}" destId="{7BE36655-02C2-456F-873E-A294D87CD127}" srcOrd="0" destOrd="0" presId="urn:microsoft.com/office/officeart/2005/8/layout/vList5"/>
    <dgm:cxn modelId="{F874BE44-DF19-4451-9066-3182DCF43838}" type="presParOf" srcId="{7BE36655-02C2-456F-873E-A294D87CD127}" destId="{D6D3E000-45A7-4622-B7D4-FA16CD3AF9EE}" srcOrd="0" destOrd="0" presId="urn:microsoft.com/office/officeart/2005/8/layout/vList5"/>
    <dgm:cxn modelId="{43893954-9651-473A-8E27-AC72526A90A2}" type="presParOf" srcId="{7BE36655-02C2-456F-873E-A294D87CD127}" destId="{59C90923-286E-4F0A-8CDE-2CA62B209158}" srcOrd="1" destOrd="0" presId="urn:microsoft.com/office/officeart/2005/8/layout/vList5"/>
    <dgm:cxn modelId="{38EF15C7-6B36-4B3A-B632-66B15FD3E829}" type="presParOf" srcId="{00842288-94DD-4834-BA96-A0AF7EC86467}" destId="{193E09BB-FBB4-49D9-9511-77C3F309067A}" srcOrd="1" destOrd="0" presId="urn:microsoft.com/office/officeart/2005/8/layout/vList5"/>
    <dgm:cxn modelId="{DA989F77-8700-4DEB-B5BA-467DBA2B4041}" type="presParOf" srcId="{00842288-94DD-4834-BA96-A0AF7EC86467}" destId="{406A46B9-2A30-457D-8E26-20E3CCB917A2}" srcOrd="2" destOrd="0" presId="urn:microsoft.com/office/officeart/2005/8/layout/vList5"/>
    <dgm:cxn modelId="{53B7243D-5499-4FBE-8CE6-8D339B08F1F6}" type="presParOf" srcId="{406A46B9-2A30-457D-8E26-20E3CCB917A2}" destId="{A6891768-DF32-4670-A1A3-33FF5EE47B0F}" srcOrd="0" destOrd="0" presId="urn:microsoft.com/office/officeart/2005/8/layout/vList5"/>
    <dgm:cxn modelId="{37F56542-9BBF-41E5-BCBD-C6D6AF223EE2}" type="presParOf" srcId="{406A46B9-2A30-457D-8E26-20E3CCB917A2}" destId="{269B12BD-C4D4-48A3-9E84-99F5A86DF614}" srcOrd="1" destOrd="0" presId="urn:microsoft.com/office/officeart/2005/8/layout/vList5"/>
    <dgm:cxn modelId="{60AA893E-C00C-4A51-AD2B-62DBC095BD8B}" type="presParOf" srcId="{00842288-94DD-4834-BA96-A0AF7EC86467}" destId="{4C5107CC-306B-4BA8-87DF-8B83B5C5CF94}" srcOrd="3" destOrd="0" presId="urn:microsoft.com/office/officeart/2005/8/layout/vList5"/>
    <dgm:cxn modelId="{840B78D7-CD5C-4D45-8F25-44DACC079C24}" type="presParOf" srcId="{00842288-94DD-4834-BA96-A0AF7EC86467}" destId="{84EBF4A2-9E8F-412B-A838-52AF2AFB8D90}" srcOrd="4" destOrd="0" presId="urn:microsoft.com/office/officeart/2005/8/layout/vList5"/>
    <dgm:cxn modelId="{8CF2EC54-A329-4893-A745-C8DBF85DE0BE}" type="presParOf" srcId="{84EBF4A2-9E8F-412B-A838-52AF2AFB8D90}" destId="{FA4F5111-480D-43A8-88B4-E25E7363AE26}" srcOrd="0" destOrd="0" presId="urn:microsoft.com/office/officeart/2005/8/layout/vList5"/>
    <dgm:cxn modelId="{9BE64055-8D6F-4980-8831-6F6A1EB60071}" type="presParOf" srcId="{84EBF4A2-9E8F-412B-A838-52AF2AFB8D90}" destId="{4ED9EE4D-4725-4B13-AFA4-6109348BFB33}" srcOrd="1" destOrd="0" presId="urn:microsoft.com/office/officeart/2005/8/layout/vList5"/>
    <dgm:cxn modelId="{A98BB044-A516-45BE-8554-5C97E3DB9E4A}" type="presParOf" srcId="{00842288-94DD-4834-BA96-A0AF7EC86467}" destId="{6DBFD087-D45B-4962-ADD7-5877FA60428F}" srcOrd="5" destOrd="0" presId="urn:microsoft.com/office/officeart/2005/8/layout/vList5"/>
    <dgm:cxn modelId="{BC4F17E2-122D-40C3-8277-00B6D6EB4CCC}" type="presParOf" srcId="{00842288-94DD-4834-BA96-A0AF7EC86467}" destId="{482A07ED-127A-4497-B841-34FEF0E44C71}" srcOrd="6" destOrd="0" presId="urn:microsoft.com/office/officeart/2005/8/layout/vList5"/>
    <dgm:cxn modelId="{D282A680-447D-40A4-B4BC-84C48A9F35E1}" type="presParOf" srcId="{482A07ED-127A-4497-B841-34FEF0E44C71}" destId="{16CB1D80-65F2-446D-992A-B33924145583}" srcOrd="0" destOrd="0" presId="urn:microsoft.com/office/officeart/2005/8/layout/vList5"/>
    <dgm:cxn modelId="{F1B1C144-AC15-4AD0-BDBB-AE29CB425901}" type="presParOf" srcId="{482A07ED-127A-4497-B841-34FEF0E44C71}" destId="{92AF9827-2EB4-4277-B9B0-DC559993F063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ACC27D3-03E2-482C-8A7C-514525D792D9}" type="doc">
      <dgm:prSet loTypeId="urn:microsoft.com/office/officeart/2005/8/layout/hierarchy4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ru-RU"/>
        </a:p>
      </dgm:t>
    </dgm:pt>
    <dgm:pt modelId="{F4B8CA77-E962-43A9-9043-6F80915B71EE}">
      <dgm:prSet phldrT="[Текст]"/>
      <dgm:spPr>
        <a:solidFill>
          <a:schemeClr val="accent5">
            <a:lumMod val="75000"/>
          </a:schemeClr>
        </a:solidFill>
        <a:effectLst>
          <a:softEdge rad="0"/>
        </a:effectLst>
      </dgm:spPr>
      <dgm:t>
        <a:bodyPr/>
        <a:lstStyle/>
        <a:p>
          <a:r>
            <a:rPr lang="ru-RU" dirty="0">
              <a:latin typeface="+mj-lt"/>
            </a:rPr>
            <a:t>Аккредитация в НСА</a:t>
          </a:r>
        </a:p>
      </dgm:t>
    </dgm:pt>
    <dgm:pt modelId="{F5A1EC61-91F7-474A-8D77-9EC2099E9C4D}" type="parTrans" cxnId="{EF454C9E-5F67-483E-ACD8-7922AAC7E3B4}">
      <dgm:prSet/>
      <dgm:spPr/>
      <dgm:t>
        <a:bodyPr/>
        <a:lstStyle/>
        <a:p>
          <a:endParaRPr lang="ru-RU"/>
        </a:p>
      </dgm:t>
    </dgm:pt>
    <dgm:pt modelId="{72D9E7A2-96D4-4FB3-AFD8-04E98A8D7F4D}" type="sibTrans" cxnId="{EF454C9E-5F67-483E-ACD8-7922AAC7E3B4}">
      <dgm:prSet/>
      <dgm:spPr/>
      <dgm:t>
        <a:bodyPr/>
        <a:lstStyle/>
        <a:p>
          <a:endParaRPr lang="ru-RU"/>
        </a:p>
      </dgm:t>
    </dgm:pt>
    <dgm:pt modelId="{ED049977-39E3-4F77-AF7B-EFF48333ECB6}">
      <dgm:prSet phldrT="[Текст]" custT="1"/>
      <dgm:spPr>
        <a:solidFill>
          <a:srgbClr val="004E6B"/>
        </a:solidFill>
      </dgm:spPr>
      <dgm:t>
        <a:bodyPr vert="horz"/>
        <a:lstStyle/>
        <a:p>
          <a:r>
            <a:rPr lang="ru-RU" sz="1300" b="0" i="0" dirty="0"/>
            <a:t>Калибровка СИ </a:t>
          </a:r>
          <a:r>
            <a:rPr lang="en-US" sz="1300" b="0" i="0" dirty="0"/>
            <a:t>ISO/IEC 17025</a:t>
          </a:r>
          <a:endParaRPr lang="ru-RU" sz="1300" b="0" dirty="0"/>
        </a:p>
      </dgm:t>
    </dgm:pt>
    <dgm:pt modelId="{76FA1A83-C826-42E3-B16B-C76553D04545}" type="parTrans" cxnId="{08407848-4884-424B-B11B-CA0EA1156667}">
      <dgm:prSet/>
      <dgm:spPr/>
      <dgm:t>
        <a:bodyPr/>
        <a:lstStyle/>
        <a:p>
          <a:endParaRPr lang="ru-RU"/>
        </a:p>
      </dgm:t>
    </dgm:pt>
    <dgm:pt modelId="{F3784CF9-A2BF-4E64-84E6-4810F5E5B81F}" type="sibTrans" cxnId="{08407848-4884-424B-B11B-CA0EA1156667}">
      <dgm:prSet/>
      <dgm:spPr/>
      <dgm:t>
        <a:bodyPr/>
        <a:lstStyle/>
        <a:p>
          <a:endParaRPr lang="ru-RU"/>
        </a:p>
      </dgm:t>
    </dgm:pt>
    <dgm:pt modelId="{65C9A464-E317-45F9-812D-4551E0131DBE}">
      <dgm:prSet phldrT="[Текст]"/>
      <dgm:spPr>
        <a:solidFill>
          <a:schemeClr val="accent5">
            <a:lumMod val="75000"/>
          </a:schemeClr>
        </a:solidFill>
      </dgm:spPr>
      <dgm:t>
        <a:bodyPr/>
        <a:lstStyle/>
        <a:p>
          <a:r>
            <a:rPr lang="en-US" dirty="0"/>
            <a:t>COOMET</a:t>
          </a:r>
          <a:endParaRPr lang="ru-RU" dirty="0"/>
        </a:p>
      </dgm:t>
    </dgm:pt>
    <dgm:pt modelId="{442FB0C3-8C8A-4219-B426-BCB93D3D0A76}" type="parTrans" cxnId="{BDEB25BC-B83E-495E-B8DD-0042C4228DF0}">
      <dgm:prSet/>
      <dgm:spPr/>
      <dgm:t>
        <a:bodyPr/>
        <a:lstStyle/>
        <a:p>
          <a:endParaRPr lang="ru-RU"/>
        </a:p>
      </dgm:t>
    </dgm:pt>
    <dgm:pt modelId="{03BB8E63-6E88-4E32-B79A-2DBC55E6EE18}" type="sibTrans" cxnId="{BDEB25BC-B83E-495E-B8DD-0042C4228DF0}">
      <dgm:prSet/>
      <dgm:spPr/>
      <dgm:t>
        <a:bodyPr/>
        <a:lstStyle/>
        <a:p>
          <a:endParaRPr lang="ru-RU"/>
        </a:p>
      </dgm:t>
    </dgm:pt>
    <dgm:pt modelId="{56F0B837-77CC-4250-B160-D8D1908D7ACD}">
      <dgm:prSet phldrT="[Текст]"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ru-RU" sz="2000" dirty="0"/>
            <a:t>Оценка соответствия</a:t>
          </a:r>
        </a:p>
      </dgm:t>
    </dgm:pt>
    <dgm:pt modelId="{C86D0681-BD9B-40F4-820F-0E2CAEA2B27D}" type="parTrans" cxnId="{767ADFEB-47F3-4F8B-81CF-64807C675ED8}">
      <dgm:prSet/>
      <dgm:spPr/>
      <dgm:t>
        <a:bodyPr/>
        <a:lstStyle/>
        <a:p>
          <a:endParaRPr lang="ru-RU"/>
        </a:p>
      </dgm:t>
    </dgm:pt>
    <dgm:pt modelId="{C36C4AD8-FE9E-4A96-83A6-425E4CBCF515}" type="sibTrans" cxnId="{767ADFEB-47F3-4F8B-81CF-64807C675ED8}">
      <dgm:prSet/>
      <dgm:spPr/>
      <dgm:t>
        <a:bodyPr/>
        <a:lstStyle/>
        <a:p>
          <a:endParaRPr lang="ru-RU"/>
        </a:p>
      </dgm:t>
    </dgm:pt>
    <dgm:pt modelId="{AB599D6A-2281-44CA-8509-555AAB1BF18D}">
      <dgm:prSet phldrT="[Текст]"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ru-RU" sz="2000" b="0" dirty="0">
              <a:latin typeface="+mj-lt"/>
            </a:rPr>
            <a:t>Обеспечение единства измерений</a:t>
          </a:r>
        </a:p>
      </dgm:t>
    </dgm:pt>
    <dgm:pt modelId="{EC4211B5-A4F5-406D-9529-E22A735FCA85}" type="parTrans" cxnId="{0CE9D491-84D3-48C3-85B6-91D8D1C29F50}">
      <dgm:prSet/>
      <dgm:spPr/>
      <dgm:t>
        <a:bodyPr/>
        <a:lstStyle/>
        <a:p>
          <a:endParaRPr lang="ru-RU"/>
        </a:p>
      </dgm:t>
    </dgm:pt>
    <dgm:pt modelId="{F620B1D0-00ED-4E74-A38E-BC65177F4CD6}" type="sibTrans" cxnId="{0CE9D491-84D3-48C3-85B6-91D8D1C29F50}">
      <dgm:prSet/>
      <dgm:spPr/>
      <dgm:t>
        <a:bodyPr/>
        <a:lstStyle/>
        <a:p>
          <a:endParaRPr lang="ru-RU"/>
        </a:p>
      </dgm:t>
    </dgm:pt>
    <dgm:pt modelId="{A46722DE-F5DB-428C-AD9D-529A1A8EB6B5}">
      <dgm:prSet phldrT="[Текст]" custT="1"/>
      <dgm:spPr>
        <a:solidFill>
          <a:srgbClr val="004E6B"/>
        </a:solidFill>
      </dgm:spPr>
      <dgm:t>
        <a:bodyPr vert="horz"/>
        <a:lstStyle/>
        <a:p>
          <a:r>
            <a:rPr lang="ru-RU" sz="1300" dirty="0"/>
            <a:t>Поверка СИ</a:t>
          </a:r>
        </a:p>
      </dgm:t>
    </dgm:pt>
    <dgm:pt modelId="{6C0CF7DD-A972-4658-9345-C72F5BDA2265}" type="parTrans" cxnId="{87511301-DDE7-422C-B94E-1CE80D196A1D}">
      <dgm:prSet/>
      <dgm:spPr/>
      <dgm:t>
        <a:bodyPr/>
        <a:lstStyle/>
        <a:p>
          <a:endParaRPr lang="ru-RU"/>
        </a:p>
      </dgm:t>
    </dgm:pt>
    <dgm:pt modelId="{C846CA2E-2811-46A8-B3FA-B1CF81374F42}" type="sibTrans" cxnId="{87511301-DDE7-422C-B94E-1CE80D196A1D}">
      <dgm:prSet/>
      <dgm:spPr/>
      <dgm:t>
        <a:bodyPr/>
        <a:lstStyle/>
        <a:p>
          <a:endParaRPr lang="ru-RU"/>
        </a:p>
      </dgm:t>
    </dgm:pt>
    <dgm:pt modelId="{A4F77456-EA70-4341-AF87-B198ABFF9EF3}">
      <dgm:prSet phldrT="[Текст]" custT="1"/>
      <dgm:spPr>
        <a:solidFill>
          <a:srgbClr val="004E6B"/>
        </a:solidFill>
      </dgm:spPr>
      <dgm:t>
        <a:bodyPr vert="horz" lIns="36000"/>
        <a:lstStyle/>
        <a:p>
          <a:pPr marL="0" indent="0" defTabSz="828000"/>
          <a:r>
            <a:rPr lang="ru-RU" sz="1300" dirty="0"/>
            <a:t>Калибровка СИ</a:t>
          </a:r>
        </a:p>
      </dgm:t>
    </dgm:pt>
    <dgm:pt modelId="{0B7BE108-47A2-4932-AF6F-34277AAA66E7}" type="parTrans" cxnId="{C6DC2B65-DE16-4233-8FF5-91D316E176A8}">
      <dgm:prSet/>
      <dgm:spPr/>
      <dgm:t>
        <a:bodyPr/>
        <a:lstStyle/>
        <a:p>
          <a:endParaRPr lang="ru-RU"/>
        </a:p>
      </dgm:t>
    </dgm:pt>
    <dgm:pt modelId="{FB8B0C9F-0471-4664-9C23-D1A1F9E12A23}" type="sibTrans" cxnId="{C6DC2B65-DE16-4233-8FF5-91D316E176A8}">
      <dgm:prSet/>
      <dgm:spPr/>
      <dgm:t>
        <a:bodyPr/>
        <a:lstStyle/>
        <a:p>
          <a:endParaRPr lang="ru-RU"/>
        </a:p>
      </dgm:t>
    </dgm:pt>
    <dgm:pt modelId="{AEC552C1-9460-4A6B-A350-8626E9EE93F8}">
      <dgm:prSet phldrT="[Текст]" custT="1"/>
      <dgm:spPr>
        <a:solidFill>
          <a:srgbClr val="004E6B"/>
        </a:solidFill>
      </dgm:spPr>
      <dgm:t>
        <a:bodyPr vert="horz" lIns="0" rIns="0"/>
        <a:lstStyle/>
        <a:p>
          <a:pPr marL="39688" indent="0"/>
          <a:r>
            <a:rPr lang="ru-RU" sz="1300" dirty="0"/>
            <a:t>Испытания СИ в целях утверждения типа</a:t>
          </a:r>
        </a:p>
      </dgm:t>
    </dgm:pt>
    <dgm:pt modelId="{141138F8-D3BA-4003-8A5E-BB223BCA31D0}" type="parTrans" cxnId="{0228D1A0-63B9-4F28-BF37-2EDCECCA7386}">
      <dgm:prSet/>
      <dgm:spPr/>
      <dgm:t>
        <a:bodyPr/>
        <a:lstStyle/>
        <a:p>
          <a:endParaRPr lang="ru-RU"/>
        </a:p>
      </dgm:t>
    </dgm:pt>
    <dgm:pt modelId="{094A858E-5CC1-4FCE-891C-E77230597970}" type="sibTrans" cxnId="{0228D1A0-63B9-4F28-BF37-2EDCECCA7386}">
      <dgm:prSet/>
      <dgm:spPr/>
      <dgm:t>
        <a:bodyPr/>
        <a:lstStyle/>
        <a:p>
          <a:endParaRPr lang="ru-RU"/>
        </a:p>
      </dgm:t>
    </dgm:pt>
    <dgm:pt modelId="{CA1C76EC-70A5-44A7-8735-465A638BBBE0}">
      <dgm:prSet phldrT="[Текст]" custT="1"/>
      <dgm:spPr>
        <a:solidFill>
          <a:srgbClr val="004E6B"/>
        </a:solidFill>
      </dgm:spPr>
      <dgm:t>
        <a:bodyPr vert="horz" lIns="0" rIns="0"/>
        <a:lstStyle/>
        <a:p>
          <a:pPr marL="49213" indent="0"/>
          <a:r>
            <a:rPr lang="ru-RU" sz="1300" dirty="0"/>
            <a:t>Испытания СО в целях утверждения типа</a:t>
          </a:r>
        </a:p>
      </dgm:t>
    </dgm:pt>
    <dgm:pt modelId="{0C35A7DB-76E3-43F6-8270-F6FE0773F498}" type="parTrans" cxnId="{6A272FBF-5A9A-48BB-9538-0FF6C99BA4F8}">
      <dgm:prSet/>
      <dgm:spPr/>
      <dgm:t>
        <a:bodyPr/>
        <a:lstStyle/>
        <a:p>
          <a:endParaRPr lang="ru-RU"/>
        </a:p>
      </dgm:t>
    </dgm:pt>
    <dgm:pt modelId="{DFC3EC1B-B94B-41DE-A091-756879E84FB9}" type="sibTrans" cxnId="{6A272FBF-5A9A-48BB-9538-0FF6C99BA4F8}">
      <dgm:prSet/>
      <dgm:spPr/>
      <dgm:t>
        <a:bodyPr/>
        <a:lstStyle/>
        <a:p>
          <a:endParaRPr lang="ru-RU"/>
        </a:p>
      </dgm:t>
    </dgm:pt>
    <dgm:pt modelId="{A7CEC0D3-E60A-42C7-85B3-F23A5AFD5BDD}">
      <dgm:prSet phldrT="[Текст]" custT="1"/>
      <dgm:spPr>
        <a:solidFill>
          <a:srgbClr val="004E6B"/>
        </a:solidFill>
      </dgm:spPr>
      <dgm:t>
        <a:bodyPr vert="horz" lIns="0" rIns="0"/>
        <a:lstStyle/>
        <a:p>
          <a:pPr marL="39688" indent="0" defTabSz="1073150"/>
          <a:r>
            <a:rPr lang="ru-RU" sz="1300" dirty="0"/>
            <a:t>Аттестация методик измерений и метрологическая экспертиза</a:t>
          </a:r>
        </a:p>
      </dgm:t>
    </dgm:pt>
    <dgm:pt modelId="{3946D1BF-4713-4FB3-810C-A5A715020166}" type="parTrans" cxnId="{6C43B0D9-FFD5-439C-B671-5B0B996DEC12}">
      <dgm:prSet/>
      <dgm:spPr/>
      <dgm:t>
        <a:bodyPr/>
        <a:lstStyle/>
        <a:p>
          <a:endParaRPr lang="ru-RU"/>
        </a:p>
      </dgm:t>
    </dgm:pt>
    <dgm:pt modelId="{C085C617-522E-4EA2-9CC9-FA71B6ED6701}" type="sibTrans" cxnId="{6C43B0D9-FFD5-439C-B671-5B0B996DEC12}">
      <dgm:prSet/>
      <dgm:spPr/>
      <dgm:t>
        <a:bodyPr/>
        <a:lstStyle/>
        <a:p>
          <a:endParaRPr lang="ru-RU"/>
        </a:p>
      </dgm:t>
    </dgm:pt>
    <dgm:pt modelId="{5B4D7EDC-4D96-408C-A6E7-88CAA30176CC}">
      <dgm:prSet phldrT="[Текст]" custT="1"/>
      <dgm:spPr>
        <a:solidFill>
          <a:schemeClr val="bg1">
            <a:lumMod val="50000"/>
          </a:schemeClr>
        </a:solidFill>
      </dgm:spPr>
      <dgm:t>
        <a:bodyPr vert="horz"/>
        <a:lstStyle/>
        <a:p>
          <a:r>
            <a:rPr lang="ru-RU" sz="1200" dirty="0"/>
            <a:t>RA.RU.</a:t>
          </a:r>
          <a:br>
            <a:rPr lang="ru-RU" sz="1200" dirty="0"/>
          </a:br>
          <a:r>
            <a:rPr lang="ru-RU" sz="1200" dirty="0"/>
            <a:t>11AЮ42</a:t>
          </a:r>
        </a:p>
      </dgm:t>
    </dgm:pt>
    <dgm:pt modelId="{B7F18051-0E2E-4987-ABB9-8C085BB062BF}" type="parTrans" cxnId="{1846230E-4930-4BDB-9D68-6C2535052E91}">
      <dgm:prSet/>
      <dgm:spPr/>
      <dgm:t>
        <a:bodyPr/>
        <a:lstStyle/>
        <a:p>
          <a:endParaRPr lang="ru-RU"/>
        </a:p>
      </dgm:t>
    </dgm:pt>
    <dgm:pt modelId="{E13423DA-5BC6-46B9-97B0-633CB7D1EB97}" type="sibTrans" cxnId="{1846230E-4930-4BDB-9D68-6C2535052E91}">
      <dgm:prSet/>
      <dgm:spPr/>
      <dgm:t>
        <a:bodyPr/>
        <a:lstStyle/>
        <a:p>
          <a:endParaRPr lang="ru-RU"/>
        </a:p>
      </dgm:t>
    </dgm:pt>
    <dgm:pt modelId="{30F9429F-A24A-47ED-9415-07444B0EDA53}">
      <dgm:prSet phldrT="[Текст]" custT="1"/>
      <dgm:spPr>
        <a:solidFill>
          <a:srgbClr val="004E6B"/>
        </a:solidFill>
      </dgm:spPr>
      <dgm:t>
        <a:bodyPr vert="horz"/>
        <a:lstStyle/>
        <a:p>
          <a:r>
            <a:rPr lang="ru-RU" sz="1300" dirty="0"/>
            <a:t>Провайдер МСИ</a:t>
          </a:r>
        </a:p>
      </dgm:t>
    </dgm:pt>
    <dgm:pt modelId="{DF444A8A-F402-4A73-829F-292B21652C4C}" type="parTrans" cxnId="{7FF7AD1F-FB17-4512-B3F8-B968165227FA}">
      <dgm:prSet/>
      <dgm:spPr/>
      <dgm:t>
        <a:bodyPr/>
        <a:lstStyle/>
        <a:p>
          <a:endParaRPr lang="ru-RU"/>
        </a:p>
      </dgm:t>
    </dgm:pt>
    <dgm:pt modelId="{4B2B285F-14A1-4BAD-BBAE-9CD81C13FA4D}" type="sibTrans" cxnId="{7FF7AD1F-FB17-4512-B3F8-B968165227FA}">
      <dgm:prSet/>
      <dgm:spPr/>
      <dgm:t>
        <a:bodyPr/>
        <a:lstStyle/>
        <a:p>
          <a:endParaRPr lang="ru-RU"/>
        </a:p>
      </dgm:t>
    </dgm:pt>
    <dgm:pt modelId="{28C2C7F4-3433-483C-86C6-9AC3A7F7A6A6}">
      <dgm:prSet phldrT="[Текст]" custT="1"/>
      <dgm:spPr>
        <a:solidFill>
          <a:srgbClr val="004E6B"/>
        </a:solidFill>
      </dgm:spPr>
      <dgm:t>
        <a:bodyPr vert="horz" lIns="36000" rIns="36000"/>
        <a:lstStyle/>
        <a:p>
          <a:pPr marL="0" indent="0">
            <a:tabLst/>
          </a:pPr>
          <a:r>
            <a:rPr lang="ru-RU" sz="1300" b="0" dirty="0"/>
            <a:t>Производство ССО в соответствии с </a:t>
          </a:r>
          <a:r>
            <a:rPr lang="en-US" sz="1300" b="0" i="0" dirty="0"/>
            <a:t>ISO 17034</a:t>
          </a:r>
          <a:endParaRPr lang="ru-RU" sz="1300" b="0" dirty="0"/>
        </a:p>
      </dgm:t>
    </dgm:pt>
    <dgm:pt modelId="{9B4075C6-EBD2-43CB-A456-4DFC4951707A}" type="parTrans" cxnId="{C558D6EA-6BF8-4E64-9F40-323E98031129}">
      <dgm:prSet/>
      <dgm:spPr/>
      <dgm:t>
        <a:bodyPr/>
        <a:lstStyle/>
        <a:p>
          <a:endParaRPr lang="ru-RU"/>
        </a:p>
      </dgm:t>
    </dgm:pt>
    <dgm:pt modelId="{FBA787CC-0A01-49A8-8AF8-27DB8AD09FEB}" type="sibTrans" cxnId="{C558D6EA-6BF8-4E64-9F40-323E98031129}">
      <dgm:prSet/>
      <dgm:spPr/>
      <dgm:t>
        <a:bodyPr/>
        <a:lstStyle/>
        <a:p>
          <a:endParaRPr lang="ru-RU"/>
        </a:p>
      </dgm:t>
    </dgm:pt>
    <dgm:pt modelId="{FEFBB3A0-4F8C-4B14-9398-F60667512088}">
      <dgm:prSet phldrT="[Текст]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ru-RU" dirty="0"/>
            <a:t>Признание СМК филиала со стороны форума качества</a:t>
          </a:r>
        </a:p>
      </dgm:t>
    </dgm:pt>
    <dgm:pt modelId="{23705625-E6DE-44AA-858C-C1AC2A9802B8}" type="parTrans" cxnId="{4BD2AA7C-1551-4686-9029-8EE3DFD44388}">
      <dgm:prSet/>
      <dgm:spPr/>
      <dgm:t>
        <a:bodyPr/>
        <a:lstStyle/>
        <a:p>
          <a:endParaRPr lang="ru-RU"/>
        </a:p>
      </dgm:t>
    </dgm:pt>
    <dgm:pt modelId="{EF305D3B-099C-4934-B2B1-CD97C6479B11}" type="sibTrans" cxnId="{4BD2AA7C-1551-4686-9029-8EE3DFD44388}">
      <dgm:prSet/>
      <dgm:spPr/>
      <dgm:t>
        <a:bodyPr/>
        <a:lstStyle/>
        <a:p>
          <a:endParaRPr lang="ru-RU"/>
        </a:p>
      </dgm:t>
    </dgm:pt>
    <dgm:pt modelId="{C113C547-A9BD-4F30-98C7-A5CD2249C3E5}">
      <dgm:prSet phldrT="[Текст]" custT="1"/>
      <dgm:spPr>
        <a:solidFill>
          <a:schemeClr val="accent3">
            <a:lumMod val="50000"/>
          </a:schemeClr>
        </a:solidFill>
      </dgm:spPr>
      <dgm:t>
        <a:bodyPr vert="horz"/>
        <a:lstStyle/>
        <a:p>
          <a:r>
            <a:rPr lang="ru-RU" sz="1400" dirty="0">
              <a:latin typeface="+mj-lt"/>
            </a:rPr>
            <a:t>66 поз.ОА</a:t>
          </a:r>
        </a:p>
      </dgm:t>
    </dgm:pt>
    <dgm:pt modelId="{1BAD55BB-66A9-41A8-B83B-65D7835D55B4}" type="parTrans" cxnId="{AD12C755-9029-4A3B-A8D4-844BDF7B2E44}">
      <dgm:prSet/>
      <dgm:spPr/>
      <dgm:t>
        <a:bodyPr/>
        <a:lstStyle/>
        <a:p>
          <a:endParaRPr lang="ru-RU"/>
        </a:p>
      </dgm:t>
    </dgm:pt>
    <dgm:pt modelId="{3D018F52-0739-483F-B1D8-D7914A19BA7A}" type="sibTrans" cxnId="{AD12C755-9029-4A3B-A8D4-844BDF7B2E44}">
      <dgm:prSet/>
      <dgm:spPr/>
      <dgm:t>
        <a:bodyPr/>
        <a:lstStyle/>
        <a:p>
          <a:endParaRPr lang="ru-RU"/>
        </a:p>
      </dgm:t>
    </dgm:pt>
    <dgm:pt modelId="{3628C7B8-193A-4CC1-9548-E1EA022F10B3}">
      <dgm:prSet phldrT="[Текст]" custT="1"/>
      <dgm:spPr>
        <a:solidFill>
          <a:schemeClr val="bg1">
            <a:lumMod val="50000"/>
          </a:schemeClr>
        </a:solidFill>
      </dgm:spPr>
      <dgm:t>
        <a:bodyPr vert="horz"/>
        <a:lstStyle/>
        <a:p>
          <a:r>
            <a:rPr lang="ru-RU" sz="1200" dirty="0"/>
            <a:t>RA.RU.</a:t>
          </a:r>
          <a:br>
            <a:rPr lang="ru-RU" sz="1200" dirty="0"/>
          </a:br>
          <a:r>
            <a:rPr lang="ru-RU" sz="1200" dirty="0"/>
            <a:t>430158</a:t>
          </a:r>
        </a:p>
      </dgm:t>
    </dgm:pt>
    <dgm:pt modelId="{A9DC8B1E-D140-41BF-B8F3-B6669EA18AA7}" type="parTrans" cxnId="{CEE75AB7-2EE7-4DA6-A840-1E8CBD6BBC12}">
      <dgm:prSet/>
      <dgm:spPr/>
      <dgm:t>
        <a:bodyPr/>
        <a:lstStyle/>
        <a:p>
          <a:endParaRPr lang="ru-RU"/>
        </a:p>
      </dgm:t>
    </dgm:pt>
    <dgm:pt modelId="{280D3735-A635-4920-A360-D44AF6AD12A9}" type="sibTrans" cxnId="{CEE75AB7-2EE7-4DA6-A840-1E8CBD6BBC12}">
      <dgm:prSet/>
      <dgm:spPr/>
      <dgm:t>
        <a:bodyPr/>
        <a:lstStyle/>
        <a:p>
          <a:endParaRPr lang="ru-RU"/>
        </a:p>
      </dgm:t>
    </dgm:pt>
    <dgm:pt modelId="{D260231F-D0C1-4F2C-A4FA-A3B45DF503CF}">
      <dgm:prSet phldrT="[Текст]" custT="1"/>
      <dgm:spPr>
        <a:solidFill>
          <a:schemeClr val="accent3">
            <a:lumMod val="50000"/>
          </a:schemeClr>
        </a:solidFill>
      </dgm:spPr>
      <dgm:t>
        <a:bodyPr vert="horz"/>
        <a:lstStyle/>
        <a:p>
          <a:r>
            <a:rPr lang="ru-RU" sz="1400" dirty="0"/>
            <a:t>152 поз.ОА</a:t>
          </a:r>
        </a:p>
      </dgm:t>
    </dgm:pt>
    <dgm:pt modelId="{3DE0AF54-BF71-4B75-9BA0-23BB3DFF9291}" type="parTrans" cxnId="{2BD2B844-ACCE-4AA4-8124-D7E5224C04AF}">
      <dgm:prSet/>
      <dgm:spPr/>
      <dgm:t>
        <a:bodyPr/>
        <a:lstStyle/>
        <a:p>
          <a:endParaRPr lang="ru-RU"/>
        </a:p>
      </dgm:t>
    </dgm:pt>
    <dgm:pt modelId="{9595A927-37A9-4754-AB5B-FFC655AF6C1B}" type="sibTrans" cxnId="{2BD2B844-ACCE-4AA4-8124-D7E5224C04AF}">
      <dgm:prSet/>
      <dgm:spPr/>
      <dgm:t>
        <a:bodyPr/>
        <a:lstStyle/>
        <a:p>
          <a:endParaRPr lang="ru-RU"/>
        </a:p>
      </dgm:t>
    </dgm:pt>
    <dgm:pt modelId="{4E10654A-7A45-4F1E-A091-2FB0F9BE9DD5}">
      <dgm:prSet phldrT="[Текст]" custT="1"/>
      <dgm:spPr>
        <a:solidFill>
          <a:schemeClr val="accent3">
            <a:lumMod val="50000"/>
          </a:schemeClr>
        </a:solidFill>
      </dgm:spPr>
      <dgm:t>
        <a:bodyPr vert="horz"/>
        <a:lstStyle/>
        <a:p>
          <a:r>
            <a:rPr lang="ru-RU" sz="1400" dirty="0"/>
            <a:t>177 поз.ОА</a:t>
          </a:r>
        </a:p>
      </dgm:t>
    </dgm:pt>
    <dgm:pt modelId="{8C6F163A-9F7E-4AF4-926C-7BDF79409013}" type="parTrans" cxnId="{81888DE1-7A6B-439C-B692-30FB9BFA0372}">
      <dgm:prSet/>
      <dgm:spPr/>
      <dgm:t>
        <a:bodyPr/>
        <a:lstStyle/>
        <a:p>
          <a:endParaRPr lang="ru-RU"/>
        </a:p>
      </dgm:t>
    </dgm:pt>
    <dgm:pt modelId="{7B6F5010-4B83-48C6-8079-6F2752A077E6}" type="sibTrans" cxnId="{81888DE1-7A6B-439C-B692-30FB9BFA0372}">
      <dgm:prSet/>
      <dgm:spPr/>
      <dgm:t>
        <a:bodyPr/>
        <a:lstStyle/>
        <a:p>
          <a:endParaRPr lang="ru-RU"/>
        </a:p>
      </dgm:t>
    </dgm:pt>
    <dgm:pt modelId="{9E66F086-8240-4A39-9D6F-AAB4542B6B59}">
      <dgm:prSet phldrT="[Текст]" custT="1"/>
      <dgm:spPr>
        <a:solidFill>
          <a:schemeClr val="accent3">
            <a:lumMod val="50000"/>
          </a:schemeClr>
        </a:solidFill>
      </dgm:spPr>
      <dgm:t>
        <a:bodyPr vert="horz"/>
        <a:lstStyle/>
        <a:p>
          <a:r>
            <a:rPr lang="ru-RU" sz="1400" dirty="0"/>
            <a:t>129 поз.ОА</a:t>
          </a:r>
        </a:p>
      </dgm:t>
    </dgm:pt>
    <dgm:pt modelId="{4449C318-1915-4242-A6CD-421E5AE96A5A}" type="parTrans" cxnId="{0B5AA8A7-D270-45DB-BBBD-9C63E77E5181}">
      <dgm:prSet/>
      <dgm:spPr/>
      <dgm:t>
        <a:bodyPr/>
        <a:lstStyle/>
        <a:p>
          <a:endParaRPr lang="ru-RU"/>
        </a:p>
      </dgm:t>
    </dgm:pt>
    <dgm:pt modelId="{999964B9-97CA-4626-8A23-02181D02317B}" type="sibTrans" cxnId="{0B5AA8A7-D270-45DB-BBBD-9C63E77E5181}">
      <dgm:prSet/>
      <dgm:spPr/>
      <dgm:t>
        <a:bodyPr/>
        <a:lstStyle/>
        <a:p>
          <a:endParaRPr lang="ru-RU"/>
        </a:p>
      </dgm:t>
    </dgm:pt>
    <dgm:pt modelId="{A432EB43-B886-426B-B433-4F6F0BDA01F8}">
      <dgm:prSet phldrT="[Текст]" custT="1"/>
      <dgm:spPr>
        <a:solidFill>
          <a:schemeClr val="accent3">
            <a:lumMod val="50000"/>
          </a:schemeClr>
        </a:solidFill>
      </dgm:spPr>
      <dgm:t>
        <a:bodyPr vert="horz"/>
        <a:lstStyle/>
        <a:p>
          <a:r>
            <a:rPr lang="ru-RU" sz="1400" dirty="0"/>
            <a:t>102 поз.ОА</a:t>
          </a:r>
        </a:p>
      </dgm:t>
    </dgm:pt>
    <dgm:pt modelId="{91F5DB63-0474-4013-8F70-08354CD6152C}" type="parTrans" cxnId="{8229975B-E3EF-49C8-9A1B-D982F82E95EF}">
      <dgm:prSet/>
      <dgm:spPr/>
      <dgm:t>
        <a:bodyPr/>
        <a:lstStyle/>
        <a:p>
          <a:endParaRPr lang="ru-RU"/>
        </a:p>
      </dgm:t>
    </dgm:pt>
    <dgm:pt modelId="{6EA38B86-ABC1-42B2-AADA-69BC35D2CEF2}" type="sibTrans" cxnId="{8229975B-E3EF-49C8-9A1B-D982F82E95EF}">
      <dgm:prSet/>
      <dgm:spPr/>
      <dgm:t>
        <a:bodyPr/>
        <a:lstStyle/>
        <a:p>
          <a:endParaRPr lang="ru-RU"/>
        </a:p>
      </dgm:t>
    </dgm:pt>
    <dgm:pt modelId="{01501A0C-32D4-45EC-970B-EE352A93E6C7}">
      <dgm:prSet phldrT="[Текст]" custT="1"/>
      <dgm:spPr>
        <a:solidFill>
          <a:schemeClr val="accent3">
            <a:lumMod val="50000"/>
          </a:schemeClr>
        </a:solidFill>
      </dgm:spPr>
      <dgm:t>
        <a:bodyPr vert="horz"/>
        <a:lstStyle/>
        <a:p>
          <a:r>
            <a:rPr lang="ru-RU" sz="1400" dirty="0"/>
            <a:t>10 поз.ОА</a:t>
          </a:r>
        </a:p>
      </dgm:t>
    </dgm:pt>
    <dgm:pt modelId="{92A8597E-B1EC-401E-9C4E-21626A0BE435}" type="parTrans" cxnId="{8904EBB1-5FC3-4435-9844-0C9D87EA80D0}">
      <dgm:prSet/>
      <dgm:spPr/>
      <dgm:t>
        <a:bodyPr/>
        <a:lstStyle/>
        <a:p>
          <a:endParaRPr lang="ru-RU"/>
        </a:p>
      </dgm:t>
    </dgm:pt>
    <dgm:pt modelId="{4F25AB1F-C501-4564-9D91-8EDD7C8A2C5D}" type="sibTrans" cxnId="{8904EBB1-5FC3-4435-9844-0C9D87EA80D0}">
      <dgm:prSet/>
      <dgm:spPr/>
      <dgm:t>
        <a:bodyPr/>
        <a:lstStyle/>
        <a:p>
          <a:endParaRPr lang="ru-RU"/>
        </a:p>
      </dgm:t>
    </dgm:pt>
    <dgm:pt modelId="{2A42B98D-1BCB-489B-A10D-CCB8FFF8E78D}">
      <dgm:prSet phldrT="[Текст]" custT="1"/>
      <dgm:spPr>
        <a:solidFill>
          <a:srgbClr val="004E6B"/>
        </a:solidFill>
      </dgm:spPr>
      <dgm:t>
        <a:bodyPr vert="horz"/>
        <a:lstStyle/>
        <a:p>
          <a:r>
            <a:rPr lang="ru-RU" sz="1300" dirty="0"/>
            <a:t>Орган по сертифика-ции</a:t>
          </a:r>
        </a:p>
      </dgm:t>
    </dgm:pt>
    <dgm:pt modelId="{C873EB16-D6FA-4B6D-9AFC-03C5BBC156D2}" type="parTrans" cxnId="{15419AFB-FC60-48FF-A791-5B4A4C3EFA25}">
      <dgm:prSet/>
      <dgm:spPr/>
      <dgm:t>
        <a:bodyPr/>
        <a:lstStyle/>
        <a:p>
          <a:endParaRPr lang="ru-RU"/>
        </a:p>
      </dgm:t>
    </dgm:pt>
    <dgm:pt modelId="{460C11CF-2D04-4450-92FE-DDDFE2D4A28C}" type="sibTrans" cxnId="{15419AFB-FC60-48FF-A791-5B4A4C3EFA25}">
      <dgm:prSet/>
      <dgm:spPr/>
      <dgm:t>
        <a:bodyPr/>
        <a:lstStyle/>
        <a:p>
          <a:endParaRPr lang="ru-RU"/>
        </a:p>
      </dgm:t>
    </dgm:pt>
    <dgm:pt modelId="{3D402A75-BC1A-41D5-940B-202616F8E6E6}">
      <dgm:prSet phldrT="[Текст]" custT="1"/>
      <dgm:spPr>
        <a:solidFill>
          <a:schemeClr val="accent3">
            <a:lumMod val="50000"/>
          </a:schemeClr>
        </a:solidFill>
      </dgm:spPr>
      <dgm:t>
        <a:bodyPr vert="horz"/>
        <a:lstStyle/>
        <a:p>
          <a:r>
            <a:rPr lang="ru-RU" sz="1400" dirty="0"/>
            <a:t>60 поз.ОА</a:t>
          </a:r>
        </a:p>
      </dgm:t>
    </dgm:pt>
    <dgm:pt modelId="{5D08F144-741C-4C89-85DF-0D98587FB81A}" type="parTrans" cxnId="{95782383-91E4-4F72-841A-E14DA12A2317}">
      <dgm:prSet/>
      <dgm:spPr/>
      <dgm:t>
        <a:bodyPr/>
        <a:lstStyle/>
        <a:p>
          <a:endParaRPr lang="ru-RU"/>
        </a:p>
      </dgm:t>
    </dgm:pt>
    <dgm:pt modelId="{0FCFA505-F507-4542-955D-7D274ACC5994}" type="sibTrans" cxnId="{95782383-91E4-4F72-841A-E14DA12A2317}">
      <dgm:prSet/>
      <dgm:spPr/>
      <dgm:t>
        <a:bodyPr/>
        <a:lstStyle/>
        <a:p>
          <a:endParaRPr lang="ru-RU"/>
        </a:p>
      </dgm:t>
    </dgm:pt>
    <dgm:pt modelId="{3E8CAFCC-5ED8-4056-8E52-D80DF983F100}">
      <dgm:prSet phldrT="[Текст]" custT="1"/>
      <dgm:spPr>
        <a:solidFill>
          <a:schemeClr val="bg1">
            <a:lumMod val="50000"/>
          </a:schemeClr>
        </a:solidFill>
      </dgm:spPr>
      <dgm:t>
        <a:bodyPr vert="horz"/>
        <a:lstStyle/>
        <a:p>
          <a:r>
            <a:rPr lang="en-US" sz="1200" dirty="0"/>
            <a:t>RA.RU.</a:t>
          </a:r>
          <a:br>
            <a:rPr lang="ru-RU" sz="1200" dirty="0"/>
          </a:br>
          <a:r>
            <a:rPr lang="en-US" sz="1200" dirty="0"/>
            <a:t>311473</a:t>
          </a:r>
          <a:endParaRPr lang="ru-RU" sz="1200" dirty="0"/>
        </a:p>
      </dgm:t>
    </dgm:pt>
    <dgm:pt modelId="{97C88C50-7C08-474F-9F6F-19F2628B51D0}" type="parTrans" cxnId="{300E6190-4061-422D-BBA9-0AC53B2F7B4A}">
      <dgm:prSet/>
      <dgm:spPr/>
      <dgm:t>
        <a:bodyPr/>
        <a:lstStyle/>
        <a:p>
          <a:endParaRPr lang="ru-RU"/>
        </a:p>
      </dgm:t>
    </dgm:pt>
    <dgm:pt modelId="{52E854CC-F072-458A-AD1F-2CBBEACE6B67}" type="sibTrans" cxnId="{300E6190-4061-422D-BBA9-0AC53B2F7B4A}">
      <dgm:prSet/>
      <dgm:spPr/>
      <dgm:t>
        <a:bodyPr/>
        <a:lstStyle/>
        <a:p>
          <a:endParaRPr lang="ru-RU"/>
        </a:p>
      </dgm:t>
    </dgm:pt>
    <dgm:pt modelId="{0B86E9D8-2989-46CD-8A31-2FFC3245D579}">
      <dgm:prSet phldrT="[Текст]" custT="1"/>
      <dgm:spPr>
        <a:solidFill>
          <a:schemeClr val="bg1">
            <a:lumMod val="50000"/>
          </a:schemeClr>
        </a:solidFill>
      </dgm:spPr>
      <dgm:t>
        <a:bodyPr vert="horz"/>
        <a:lstStyle/>
        <a:p>
          <a:r>
            <a:rPr lang="ru-RU" sz="1200" dirty="0"/>
            <a:t>RA.RU.</a:t>
          </a:r>
          <a:br>
            <a:rPr lang="ru-RU" sz="1200" dirty="0"/>
          </a:br>
          <a:r>
            <a:rPr lang="ru-RU" sz="1200" dirty="0"/>
            <a:t>311975</a:t>
          </a:r>
        </a:p>
      </dgm:t>
    </dgm:pt>
    <dgm:pt modelId="{4CF06E0B-9E56-4E45-A868-63ABD9F2CC57}" type="parTrans" cxnId="{EDF04F0F-E1AB-4C92-82FC-2D5FB4BBE386}">
      <dgm:prSet/>
      <dgm:spPr/>
      <dgm:t>
        <a:bodyPr/>
        <a:lstStyle/>
        <a:p>
          <a:endParaRPr lang="ru-RU"/>
        </a:p>
      </dgm:t>
    </dgm:pt>
    <dgm:pt modelId="{2F8DA5BE-889C-4BD7-9E9F-DD6521F6A55E}" type="sibTrans" cxnId="{EDF04F0F-E1AB-4C92-82FC-2D5FB4BBE386}">
      <dgm:prSet/>
      <dgm:spPr/>
      <dgm:t>
        <a:bodyPr/>
        <a:lstStyle/>
        <a:p>
          <a:endParaRPr lang="ru-RU"/>
        </a:p>
      </dgm:t>
    </dgm:pt>
    <dgm:pt modelId="{9F56B52D-65D7-47B2-A592-EE63B679DDBA}">
      <dgm:prSet phldrT="[Текст]" custT="1"/>
      <dgm:spPr>
        <a:solidFill>
          <a:schemeClr val="bg1">
            <a:lumMod val="50000"/>
          </a:schemeClr>
        </a:solidFill>
      </dgm:spPr>
      <dgm:t>
        <a:bodyPr vert="horz"/>
        <a:lstStyle/>
        <a:p>
          <a:r>
            <a:rPr lang="ru-RU" sz="1200" dirty="0"/>
            <a:t>RA.RU.</a:t>
          </a:r>
          <a:br>
            <a:rPr lang="ru-RU" sz="1200" dirty="0"/>
          </a:br>
          <a:r>
            <a:rPr lang="ru-RU" sz="1200" dirty="0"/>
            <a:t>31137</a:t>
          </a:r>
        </a:p>
      </dgm:t>
    </dgm:pt>
    <dgm:pt modelId="{D9F85809-F182-4C6A-BAE6-D688181BE87E}" type="parTrans" cxnId="{740B6AF0-F04E-4BBE-A6E2-7E9A818D2632}">
      <dgm:prSet/>
      <dgm:spPr/>
      <dgm:t>
        <a:bodyPr/>
        <a:lstStyle/>
        <a:p>
          <a:endParaRPr lang="ru-RU"/>
        </a:p>
      </dgm:t>
    </dgm:pt>
    <dgm:pt modelId="{A9D9E27C-02AB-4096-BC41-D632A02E066C}" type="sibTrans" cxnId="{740B6AF0-F04E-4BBE-A6E2-7E9A818D2632}">
      <dgm:prSet/>
      <dgm:spPr/>
      <dgm:t>
        <a:bodyPr/>
        <a:lstStyle/>
        <a:p>
          <a:endParaRPr lang="ru-RU"/>
        </a:p>
      </dgm:t>
    </dgm:pt>
    <dgm:pt modelId="{14A3DC44-6327-4D6D-B40D-9A83AACBDA65}">
      <dgm:prSet phldrT="[Текст]" custT="1"/>
      <dgm:spPr>
        <a:solidFill>
          <a:schemeClr val="bg1">
            <a:lumMod val="50000"/>
          </a:schemeClr>
        </a:solidFill>
      </dgm:spPr>
      <dgm:t>
        <a:bodyPr vert="horz"/>
        <a:lstStyle/>
        <a:p>
          <a:r>
            <a:rPr lang="ru-RU" sz="1200" dirty="0"/>
            <a:t>POCC RU.0001.</a:t>
          </a:r>
          <a:br>
            <a:rPr lang="ru-RU" sz="1200" dirty="0"/>
          </a:br>
          <a:r>
            <a:rPr lang="ru-RU" sz="1200" dirty="0"/>
            <a:t>310442</a:t>
          </a:r>
        </a:p>
      </dgm:t>
    </dgm:pt>
    <dgm:pt modelId="{D0243536-DA9C-4FCE-9DF1-B7FDAE29E505}" type="parTrans" cxnId="{E34FF1F6-5B6D-4813-BCB3-43E573516603}">
      <dgm:prSet/>
      <dgm:spPr/>
      <dgm:t>
        <a:bodyPr/>
        <a:lstStyle/>
        <a:p>
          <a:endParaRPr lang="ru-RU"/>
        </a:p>
      </dgm:t>
    </dgm:pt>
    <dgm:pt modelId="{F0A3852C-654B-427C-93BC-9A004490D13E}" type="sibTrans" cxnId="{E34FF1F6-5B6D-4813-BCB3-43E573516603}">
      <dgm:prSet/>
      <dgm:spPr/>
      <dgm:t>
        <a:bodyPr/>
        <a:lstStyle/>
        <a:p>
          <a:endParaRPr lang="ru-RU"/>
        </a:p>
      </dgm:t>
    </dgm:pt>
    <dgm:pt modelId="{1F10BA1E-6AF9-43C6-B282-7693ADD716F2}">
      <dgm:prSet phldrT="[Текст]" custT="1"/>
      <dgm:spPr>
        <a:solidFill>
          <a:schemeClr val="bg1">
            <a:lumMod val="50000"/>
          </a:schemeClr>
        </a:solidFill>
      </dgm:spPr>
      <dgm:t>
        <a:bodyPr vert="horz"/>
        <a:lstStyle/>
        <a:p>
          <a:r>
            <a:rPr lang="ru-RU" sz="1200" dirty="0"/>
            <a:t>RA.RU.</a:t>
          </a:r>
          <a:br>
            <a:rPr lang="ru-RU" sz="1200" dirty="0"/>
          </a:br>
          <a:r>
            <a:rPr lang="ru-RU" sz="1200" dirty="0"/>
            <a:t>311866</a:t>
          </a:r>
        </a:p>
      </dgm:t>
    </dgm:pt>
    <dgm:pt modelId="{35D3903C-03E1-47D4-8E87-C56116D0A10B}" type="parTrans" cxnId="{2F7F9B3A-EBC7-4C85-9FD8-C48DF03C7B11}">
      <dgm:prSet/>
      <dgm:spPr/>
      <dgm:t>
        <a:bodyPr/>
        <a:lstStyle/>
        <a:p>
          <a:endParaRPr lang="ru-RU"/>
        </a:p>
      </dgm:t>
    </dgm:pt>
    <dgm:pt modelId="{33516751-67A8-4744-8882-199C108EA0A9}" type="sibTrans" cxnId="{2F7F9B3A-EBC7-4C85-9FD8-C48DF03C7B11}">
      <dgm:prSet/>
      <dgm:spPr/>
      <dgm:t>
        <a:bodyPr/>
        <a:lstStyle/>
        <a:p>
          <a:endParaRPr lang="ru-RU"/>
        </a:p>
      </dgm:t>
    </dgm:pt>
    <dgm:pt modelId="{115227F1-C0BF-42AE-AECA-E4073789DC17}">
      <dgm:prSet phldrT="[Текст]" custT="1"/>
      <dgm:spPr>
        <a:solidFill>
          <a:schemeClr val="bg1">
            <a:lumMod val="50000"/>
          </a:schemeClr>
        </a:solidFill>
      </dgm:spPr>
      <dgm:t>
        <a:bodyPr vert="horz"/>
        <a:lstStyle/>
        <a:p>
          <a:r>
            <a:rPr lang="en-US" sz="1200" b="0" i="0" dirty="0"/>
            <a:t>QSF–R79</a:t>
          </a:r>
          <a:endParaRPr lang="ru-RU" sz="1200" b="0" dirty="0"/>
        </a:p>
      </dgm:t>
    </dgm:pt>
    <dgm:pt modelId="{8588466C-BE0B-4359-975D-E6C70B8F1154}" type="parTrans" cxnId="{3E0812EC-6B76-4844-A0FB-390F0668609C}">
      <dgm:prSet/>
      <dgm:spPr/>
      <dgm:t>
        <a:bodyPr/>
        <a:lstStyle/>
        <a:p>
          <a:endParaRPr lang="ru-RU"/>
        </a:p>
      </dgm:t>
    </dgm:pt>
    <dgm:pt modelId="{50F60ECA-096B-4062-BF9C-6698222A0760}" type="sibTrans" cxnId="{3E0812EC-6B76-4844-A0FB-390F0668609C}">
      <dgm:prSet/>
      <dgm:spPr/>
      <dgm:t>
        <a:bodyPr/>
        <a:lstStyle/>
        <a:p>
          <a:endParaRPr lang="ru-RU"/>
        </a:p>
      </dgm:t>
    </dgm:pt>
    <dgm:pt modelId="{BE949F0B-342E-4F4E-AFE2-1B2BB434088D}">
      <dgm:prSet phldrT="[Текст]" custT="1"/>
      <dgm:spPr>
        <a:solidFill>
          <a:schemeClr val="bg1">
            <a:lumMod val="50000"/>
          </a:schemeClr>
        </a:solidFill>
      </dgm:spPr>
      <dgm:t>
        <a:bodyPr vert="horz"/>
        <a:lstStyle/>
        <a:p>
          <a:r>
            <a:rPr lang="en-US" sz="1200" b="0" i="0" dirty="0"/>
            <a:t>QSF–R80</a:t>
          </a:r>
          <a:endParaRPr lang="ru-RU" sz="1200" b="0" dirty="0"/>
        </a:p>
      </dgm:t>
    </dgm:pt>
    <dgm:pt modelId="{E7A03244-78AF-446B-95D6-889B3D2747D6}" type="parTrans" cxnId="{599DAB39-12A8-4FED-924A-D16346A2B4D4}">
      <dgm:prSet/>
      <dgm:spPr/>
      <dgm:t>
        <a:bodyPr/>
        <a:lstStyle/>
        <a:p>
          <a:endParaRPr lang="ru-RU"/>
        </a:p>
      </dgm:t>
    </dgm:pt>
    <dgm:pt modelId="{B897A07A-F1EB-4A5F-A20C-163546C880DB}" type="sibTrans" cxnId="{599DAB39-12A8-4FED-924A-D16346A2B4D4}">
      <dgm:prSet/>
      <dgm:spPr/>
      <dgm:t>
        <a:bodyPr/>
        <a:lstStyle/>
        <a:p>
          <a:endParaRPr lang="ru-RU"/>
        </a:p>
      </dgm:t>
    </dgm:pt>
    <dgm:pt modelId="{C1E83283-3450-4F62-B0D5-17E107757E59}" type="pres">
      <dgm:prSet presAssocID="{FACC27D3-03E2-482C-8A7C-514525D792D9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3991DDB2-EA5E-4FC7-BEEF-275EA4B3A883}" type="pres">
      <dgm:prSet presAssocID="{F4B8CA77-E962-43A9-9043-6F80915B71EE}" presName="vertOne" presStyleCnt="0"/>
      <dgm:spPr/>
    </dgm:pt>
    <dgm:pt modelId="{29908D46-0580-410D-BF82-DBA3019C1C96}" type="pres">
      <dgm:prSet presAssocID="{F4B8CA77-E962-43A9-9043-6F80915B71EE}" presName="txOne" presStyleLbl="node0" presStyleIdx="0" presStyleCnt="2" custScaleY="50352" custLinFactNeighborX="-16" custLinFactNeighborY="-7305">
        <dgm:presLayoutVars>
          <dgm:chPref val="3"/>
        </dgm:presLayoutVars>
      </dgm:prSet>
      <dgm:spPr>
        <a:prstGeom prst="rect">
          <a:avLst/>
        </a:prstGeom>
      </dgm:spPr>
    </dgm:pt>
    <dgm:pt modelId="{52061928-60D4-455C-AFAD-6C1481B979F1}" type="pres">
      <dgm:prSet presAssocID="{F4B8CA77-E962-43A9-9043-6F80915B71EE}" presName="parTransOne" presStyleCnt="0"/>
      <dgm:spPr/>
    </dgm:pt>
    <dgm:pt modelId="{3BEF1709-F8E1-4B0C-B892-FB2E2CA025F5}" type="pres">
      <dgm:prSet presAssocID="{F4B8CA77-E962-43A9-9043-6F80915B71EE}" presName="horzOne" presStyleCnt="0"/>
      <dgm:spPr/>
    </dgm:pt>
    <dgm:pt modelId="{C0A0C4B9-BA0D-41A5-B6C8-EE45E8AB8D13}" type="pres">
      <dgm:prSet presAssocID="{56F0B837-77CC-4250-B160-D8D1908D7ACD}" presName="vertTwo" presStyleCnt="0"/>
      <dgm:spPr/>
    </dgm:pt>
    <dgm:pt modelId="{D2255599-8653-42D5-B4CD-A8F5683094AB}" type="pres">
      <dgm:prSet presAssocID="{56F0B837-77CC-4250-B160-D8D1908D7ACD}" presName="txTwo" presStyleLbl="node2" presStyleIdx="0" presStyleCnt="3" custScaleY="50562">
        <dgm:presLayoutVars>
          <dgm:chPref val="3"/>
        </dgm:presLayoutVars>
      </dgm:prSet>
      <dgm:spPr>
        <a:prstGeom prst="rect">
          <a:avLst/>
        </a:prstGeom>
      </dgm:spPr>
    </dgm:pt>
    <dgm:pt modelId="{0D98FD32-373E-4286-838F-A0689241BE34}" type="pres">
      <dgm:prSet presAssocID="{56F0B837-77CC-4250-B160-D8D1908D7ACD}" presName="parTransTwo" presStyleCnt="0"/>
      <dgm:spPr/>
    </dgm:pt>
    <dgm:pt modelId="{0795F988-5D2F-4BB1-8C1B-308A2A7F1165}" type="pres">
      <dgm:prSet presAssocID="{56F0B837-77CC-4250-B160-D8D1908D7ACD}" presName="horzTwo" presStyleCnt="0"/>
      <dgm:spPr/>
    </dgm:pt>
    <dgm:pt modelId="{08024C66-48CF-41B3-B745-D0003360E3E9}" type="pres">
      <dgm:prSet presAssocID="{2A42B98D-1BCB-489B-A10D-CCB8FFF8E78D}" presName="vertThree" presStyleCnt="0"/>
      <dgm:spPr/>
    </dgm:pt>
    <dgm:pt modelId="{E1CBC346-62EA-420C-ACCF-41A23150E402}" type="pres">
      <dgm:prSet presAssocID="{2A42B98D-1BCB-489B-A10D-CCB8FFF8E78D}" presName="txThree" presStyleLbl="node3" presStyleIdx="0" presStyleCnt="9" custLinFactNeighborX="806">
        <dgm:presLayoutVars>
          <dgm:chPref val="3"/>
        </dgm:presLayoutVars>
      </dgm:prSet>
      <dgm:spPr>
        <a:prstGeom prst="rect">
          <a:avLst/>
        </a:prstGeom>
      </dgm:spPr>
    </dgm:pt>
    <dgm:pt modelId="{61BEADD6-FAA4-4222-B935-5759B2A6122A}" type="pres">
      <dgm:prSet presAssocID="{2A42B98D-1BCB-489B-A10D-CCB8FFF8E78D}" presName="parTransThree" presStyleCnt="0"/>
      <dgm:spPr/>
    </dgm:pt>
    <dgm:pt modelId="{2D38CAF2-A5CE-4382-9CF5-39042702DB4D}" type="pres">
      <dgm:prSet presAssocID="{2A42B98D-1BCB-489B-A10D-CCB8FFF8E78D}" presName="horzThree" presStyleCnt="0"/>
      <dgm:spPr/>
    </dgm:pt>
    <dgm:pt modelId="{8E286861-3956-4A12-9CEC-954DC87CC75B}" type="pres">
      <dgm:prSet presAssocID="{5B4D7EDC-4D96-408C-A6E7-88CAA30176CC}" presName="vertFour" presStyleCnt="0">
        <dgm:presLayoutVars>
          <dgm:chPref val="3"/>
        </dgm:presLayoutVars>
      </dgm:prSet>
      <dgm:spPr/>
    </dgm:pt>
    <dgm:pt modelId="{5F68167F-933F-4172-A4D7-6F6CE325B3D1}" type="pres">
      <dgm:prSet presAssocID="{5B4D7EDC-4D96-408C-A6E7-88CAA30176CC}" presName="txFour" presStyleLbl="node4" presStyleIdx="0" presStyleCnt="16" custScaleY="39804">
        <dgm:presLayoutVars>
          <dgm:chPref val="3"/>
        </dgm:presLayoutVars>
      </dgm:prSet>
      <dgm:spPr>
        <a:prstGeom prst="rect">
          <a:avLst/>
        </a:prstGeom>
      </dgm:spPr>
    </dgm:pt>
    <dgm:pt modelId="{2D9D185E-03AC-4C52-9C8D-643FAE771F99}" type="pres">
      <dgm:prSet presAssocID="{5B4D7EDC-4D96-408C-A6E7-88CAA30176CC}" presName="parTransFour" presStyleCnt="0"/>
      <dgm:spPr/>
    </dgm:pt>
    <dgm:pt modelId="{9088960E-FEA5-4EA1-AB88-D406EAB2097D}" type="pres">
      <dgm:prSet presAssocID="{5B4D7EDC-4D96-408C-A6E7-88CAA30176CC}" presName="horzFour" presStyleCnt="0"/>
      <dgm:spPr/>
    </dgm:pt>
    <dgm:pt modelId="{4F41FE29-2CE7-4A1C-B34D-1312CE625F26}" type="pres">
      <dgm:prSet presAssocID="{C113C547-A9BD-4F30-98C7-A5CD2249C3E5}" presName="vertFour" presStyleCnt="0">
        <dgm:presLayoutVars>
          <dgm:chPref val="3"/>
        </dgm:presLayoutVars>
      </dgm:prSet>
      <dgm:spPr/>
    </dgm:pt>
    <dgm:pt modelId="{5551053A-5DB3-4192-8AC4-90940E0FBC18}" type="pres">
      <dgm:prSet presAssocID="{C113C547-A9BD-4F30-98C7-A5CD2249C3E5}" presName="txFour" presStyleLbl="node4" presStyleIdx="1" presStyleCnt="16" custScaleY="30812">
        <dgm:presLayoutVars>
          <dgm:chPref val="3"/>
        </dgm:presLayoutVars>
      </dgm:prSet>
      <dgm:spPr>
        <a:prstGeom prst="roundRect">
          <a:avLst/>
        </a:prstGeom>
      </dgm:spPr>
    </dgm:pt>
    <dgm:pt modelId="{5EA5E82C-9D11-46B9-BCA3-2FB839039B1E}" type="pres">
      <dgm:prSet presAssocID="{C113C547-A9BD-4F30-98C7-A5CD2249C3E5}" presName="horzFour" presStyleCnt="0"/>
      <dgm:spPr/>
    </dgm:pt>
    <dgm:pt modelId="{8DE9E9C6-1CAA-488B-81C4-60A1FAF09B53}" type="pres">
      <dgm:prSet presAssocID="{460C11CF-2D04-4450-92FE-DDDFE2D4A28C}" presName="sibSpaceThree" presStyleCnt="0"/>
      <dgm:spPr/>
    </dgm:pt>
    <dgm:pt modelId="{BD4B156C-6BF0-4773-8006-3E9619597855}" type="pres">
      <dgm:prSet presAssocID="{30F9429F-A24A-47ED-9415-07444B0EDA53}" presName="vertThree" presStyleCnt="0"/>
      <dgm:spPr/>
    </dgm:pt>
    <dgm:pt modelId="{A49620BC-2220-4885-A334-E204AF06D23F}" type="pres">
      <dgm:prSet presAssocID="{30F9429F-A24A-47ED-9415-07444B0EDA53}" presName="txThree" presStyleLbl="node3" presStyleIdx="1" presStyleCnt="9" custLinFactNeighborX="806">
        <dgm:presLayoutVars>
          <dgm:chPref val="3"/>
        </dgm:presLayoutVars>
      </dgm:prSet>
      <dgm:spPr>
        <a:prstGeom prst="rect">
          <a:avLst/>
        </a:prstGeom>
      </dgm:spPr>
    </dgm:pt>
    <dgm:pt modelId="{13621A46-39A8-4BB0-83CA-043AA2F6150D}" type="pres">
      <dgm:prSet presAssocID="{30F9429F-A24A-47ED-9415-07444B0EDA53}" presName="parTransThree" presStyleCnt="0"/>
      <dgm:spPr/>
    </dgm:pt>
    <dgm:pt modelId="{B007B664-106F-4C03-BD5F-10F74A978B13}" type="pres">
      <dgm:prSet presAssocID="{30F9429F-A24A-47ED-9415-07444B0EDA53}" presName="horzThree" presStyleCnt="0"/>
      <dgm:spPr/>
    </dgm:pt>
    <dgm:pt modelId="{C1AF2F1E-034B-4B98-8771-B0B564C6B793}" type="pres">
      <dgm:prSet presAssocID="{3628C7B8-193A-4CC1-9548-E1EA022F10B3}" presName="vertFour" presStyleCnt="0">
        <dgm:presLayoutVars>
          <dgm:chPref val="3"/>
        </dgm:presLayoutVars>
      </dgm:prSet>
      <dgm:spPr/>
    </dgm:pt>
    <dgm:pt modelId="{C6A5189C-4A84-41E7-BCB3-462D1FC24D12}" type="pres">
      <dgm:prSet presAssocID="{3628C7B8-193A-4CC1-9548-E1EA022F10B3}" presName="txFour" presStyleLbl="node4" presStyleIdx="2" presStyleCnt="16" custScaleY="39804">
        <dgm:presLayoutVars>
          <dgm:chPref val="3"/>
        </dgm:presLayoutVars>
      </dgm:prSet>
      <dgm:spPr>
        <a:prstGeom prst="rect">
          <a:avLst/>
        </a:prstGeom>
      </dgm:spPr>
    </dgm:pt>
    <dgm:pt modelId="{1FBBFEC6-AE72-4F23-BCE4-8B4A0A3CEB71}" type="pres">
      <dgm:prSet presAssocID="{3628C7B8-193A-4CC1-9548-E1EA022F10B3}" presName="parTransFour" presStyleCnt="0"/>
      <dgm:spPr/>
    </dgm:pt>
    <dgm:pt modelId="{109C4E50-8FD2-49B1-A664-7048627D2486}" type="pres">
      <dgm:prSet presAssocID="{3628C7B8-193A-4CC1-9548-E1EA022F10B3}" presName="horzFour" presStyleCnt="0"/>
      <dgm:spPr/>
    </dgm:pt>
    <dgm:pt modelId="{1AA48CD3-F78E-40A0-8A7C-E86B9220507D}" type="pres">
      <dgm:prSet presAssocID="{3D402A75-BC1A-41D5-940B-202616F8E6E6}" presName="vertFour" presStyleCnt="0">
        <dgm:presLayoutVars>
          <dgm:chPref val="3"/>
        </dgm:presLayoutVars>
      </dgm:prSet>
      <dgm:spPr/>
    </dgm:pt>
    <dgm:pt modelId="{CD91BE6D-6FF9-4C3F-907A-416A62ADE6E2}" type="pres">
      <dgm:prSet presAssocID="{3D402A75-BC1A-41D5-940B-202616F8E6E6}" presName="txFour" presStyleLbl="node4" presStyleIdx="3" presStyleCnt="16" custScaleY="30812">
        <dgm:presLayoutVars>
          <dgm:chPref val="3"/>
        </dgm:presLayoutVars>
      </dgm:prSet>
      <dgm:spPr>
        <a:prstGeom prst="roundRect">
          <a:avLst/>
        </a:prstGeom>
      </dgm:spPr>
    </dgm:pt>
    <dgm:pt modelId="{7927FC43-0DCD-4164-9FAA-03E43B17CE8D}" type="pres">
      <dgm:prSet presAssocID="{3D402A75-BC1A-41D5-940B-202616F8E6E6}" presName="horzFour" presStyleCnt="0"/>
      <dgm:spPr/>
    </dgm:pt>
    <dgm:pt modelId="{0CEADF97-F613-44F9-ABE9-08A1A262D64B}" type="pres">
      <dgm:prSet presAssocID="{C36C4AD8-FE9E-4A96-83A6-425E4CBCF515}" presName="sibSpaceTwo" presStyleCnt="0"/>
      <dgm:spPr/>
    </dgm:pt>
    <dgm:pt modelId="{C27F43BA-5270-40E4-A977-AF43C39826E3}" type="pres">
      <dgm:prSet presAssocID="{AB599D6A-2281-44CA-8509-555AAB1BF18D}" presName="vertTwo" presStyleCnt="0"/>
      <dgm:spPr/>
    </dgm:pt>
    <dgm:pt modelId="{BAC4AE3E-D08F-4727-B9A3-CC4CBF71E578}" type="pres">
      <dgm:prSet presAssocID="{AB599D6A-2281-44CA-8509-555AAB1BF18D}" presName="txTwo" presStyleLbl="node2" presStyleIdx="1" presStyleCnt="3" custScaleY="50562">
        <dgm:presLayoutVars>
          <dgm:chPref val="3"/>
        </dgm:presLayoutVars>
      </dgm:prSet>
      <dgm:spPr>
        <a:prstGeom prst="rect">
          <a:avLst/>
        </a:prstGeom>
      </dgm:spPr>
    </dgm:pt>
    <dgm:pt modelId="{EE7F98FB-E3B2-4328-BB4D-F497FCBE6E31}" type="pres">
      <dgm:prSet presAssocID="{AB599D6A-2281-44CA-8509-555AAB1BF18D}" presName="parTransTwo" presStyleCnt="0"/>
      <dgm:spPr/>
    </dgm:pt>
    <dgm:pt modelId="{5DB66F55-8D8F-4178-B16B-164625883716}" type="pres">
      <dgm:prSet presAssocID="{AB599D6A-2281-44CA-8509-555AAB1BF18D}" presName="horzTwo" presStyleCnt="0"/>
      <dgm:spPr/>
    </dgm:pt>
    <dgm:pt modelId="{EFADA1CE-C998-4200-A0ED-A8294265195A}" type="pres">
      <dgm:prSet presAssocID="{A46722DE-F5DB-428C-AD9D-529A1A8EB6B5}" presName="vertThree" presStyleCnt="0"/>
      <dgm:spPr/>
    </dgm:pt>
    <dgm:pt modelId="{F84C305B-830A-4B17-983C-73795E31F6DD}" type="pres">
      <dgm:prSet presAssocID="{A46722DE-F5DB-428C-AD9D-529A1A8EB6B5}" presName="txThree" presStyleLbl="node3" presStyleIdx="2" presStyleCnt="9" custLinFactNeighborX="806">
        <dgm:presLayoutVars>
          <dgm:chPref val="3"/>
        </dgm:presLayoutVars>
      </dgm:prSet>
      <dgm:spPr>
        <a:prstGeom prst="rect">
          <a:avLst/>
        </a:prstGeom>
      </dgm:spPr>
    </dgm:pt>
    <dgm:pt modelId="{8BC8DCAE-C8F2-4C43-90E2-B959ADF837B6}" type="pres">
      <dgm:prSet presAssocID="{A46722DE-F5DB-428C-AD9D-529A1A8EB6B5}" presName="parTransThree" presStyleCnt="0"/>
      <dgm:spPr/>
    </dgm:pt>
    <dgm:pt modelId="{B4C8ABFB-C789-47E5-8C13-B32D49D32AFB}" type="pres">
      <dgm:prSet presAssocID="{A46722DE-F5DB-428C-AD9D-529A1A8EB6B5}" presName="horzThree" presStyleCnt="0"/>
      <dgm:spPr/>
    </dgm:pt>
    <dgm:pt modelId="{CC5DD440-6EB7-438D-B3FC-9F553E055B85}" type="pres">
      <dgm:prSet presAssocID="{3E8CAFCC-5ED8-4056-8E52-D80DF983F100}" presName="vertFour" presStyleCnt="0">
        <dgm:presLayoutVars>
          <dgm:chPref val="3"/>
        </dgm:presLayoutVars>
      </dgm:prSet>
      <dgm:spPr/>
    </dgm:pt>
    <dgm:pt modelId="{66B5866B-EAEF-4714-BA6B-02BAE8A238A2}" type="pres">
      <dgm:prSet presAssocID="{3E8CAFCC-5ED8-4056-8E52-D80DF983F100}" presName="txFour" presStyleLbl="node4" presStyleIdx="4" presStyleCnt="16" custScaleY="39804">
        <dgm:presLayoutVars>
          <dgm:chPref val="3"/>
        </dgm:presLayoutVars>
      </dgm:prSet>
      <dgm:spPr>
        <a:prstGeom prst="rect">
          <a:avLst/>
        </a:prstGeom>
      </dgm:spPr>
    </dgm:pt>
    <dgm:pt modelId="{C401D1A0-E9A9-4324-9264-F2F81A7E8977}" type="pres">
      <dgm:prSet presAssocID="{3E8CAFCC-5ED8-4056-8E52-D80DF983F100}" presName="parTransFour" presStyleCnt="0"/>
      <dgm:spPr/>
    </dgm:pt>
    <dgm:pt modelId="{0FBF2B3D-FD0D-4275-8AE4-4B8653EB6C6D}" type="pres">
      <dgm:prSet presAssocID="{3E8CAFCC-5ED8-4056-8E52-D80DF983F100}" presName="horzFour" presStyleCnt="0"/>
      <dgm:spPr/>
    </dgm:pt>
    <dgm:pt modelId="{95CCFEEF-D31A-45B1-8DDA-3CBDF8107FE3}" type="pres">
      <dgm:prSet presAssocID="{D260231F-D0C1-4F2C-A4FA-A3B45DF503CF}" presName="vertFour" presStyleCnt="0">
        <dgm:presLayoutVars>
          <dgm:chPref val="3"/>
        </dgm:presLayoutVars>
      </dgm:prSet>
      <dgm:spPr/>
    </dgm:pt>
    <dgm:pt modelId="{6E1734B3-637B-4774-9150-609D38A59EFF}" type="pres">
      <dgm:prSet presAssocID="{D260231F-D0C1-4F2C-A4FA-A3B45DF503CF}" presName="txFour" presStyleLbl="node4" presStyleIdx="5" presStyleCnt="16" custScaleY="30812">
        <dgm:presLayoutVars>
          <dgm:chPref val="3"/>
        </dgm:presLayoutVars>
      </dgm:prSet>
      <dgm:spPr>
        <a:prstGeom prst="roundRect">
          <a:avLst/>
        </a:prstGeom>
      </dgm:spPr>
    </dgm:pt>
    <dgm:pt modelId="{BC5D323A-00C0-4369-97D3-4E16D00CDD45}" type="pres">
      <dgm:prSet presAssocID="{D260231F-D0C1-4F2C-A4FA-A3B45DF503CF}" presName="horzFour" presStyleCnt="0"/>
      <dgm:spPr/>
    </dgm:pt>
    <dgm:pt modelId="{CA337138-6375-4804-96F3-C513FE8C96B3}" type="pres">
      <dgm:prSet presAssocID="{C846CA2E-2811-46A8-B3FA-B1CF81374F42}" presName="sibSpaceThree" presStyleCnt="0"/>
      <dgm:spPr/>
    </dgm:pt>
    <dgm:pt modelId="{759B1CEB-C540-44EF-A4BB-481FFED19A00}" type="pres">
      <dgm:prSet presAssocID="{A4F77456-EA70-4341-AF87-B198ABFF9EF3}" presName="vertThree" presStyleCnt="0"/>
      <dgm:spPr/>
    </dgm:pt>
    <dgm:pt modelId="{332BF639-B21F-4F7E-AED3-AAA5096ECA29}" type="pres">
      <dgm:prSet presAssocID="{A4F77456-EA70-4341-AF87-B198ABFF9EF3}" presName="txThree" presStyleLbl="node3" presStyleIdx="3" presStyleCnt="9" custLinFactNeighborX="806">
        <dgm:presLayoutVars>
          <dgm:chPref val="3"/>
        </dgm:presLayoutVars>
      </dgm:prSet>
      <dgm:spPr>
        <a:prstGeom prst="rect">
          <a:avLst/>
        </a:prstGeom>
      </dgm:spPr>
    </dgm:pt>
    <dgm:pt modelId="{03070E68-4E01-482A-B6CD-EF37D4E8141B}" type="pres">
      <dgm:prSet presAssocID="{A4F77456-EA70-4341-AF87-B198ABFF9EF3}" presName="parTransThree" presStyleCnt="0"/>
      <dgm:spPr/>
    </dgm:pt>
    <dgm:pt modelId="{7FACD0C9-6DE2-4990-9255-903514948CA0}" type="pres">
      <dgm:prSet presAssocID="{A4F77456-EA70-4341-AF87-B198ABFF9EF3}" presName="horzThree" presStyleCnt="0"/>
      <dgm:spPr/>
    </dgm:pt>
    <dgm:pt modelId="{3A5EDD8C-ED98-4F8C-A21E-BAE80708660F}" type="pres">
      <dgm:prSet presAssocID="{0B86E9D8-2989-46CD-8A31-2FFC3245D579}" presName="vertFour" presStyleCnt="0">
        <dgm:presLayoutVars>
          <dgm:chPref val="3"/>
        </dgm:presLayoutVars>
      </dgm:prSet>
      <dgm:spPr/>
    </dgm:pt>
    <dgm:pt modelId="{199D9393-D571-4D11-93CA-0D1F9E35E890}" type="pres">
      <dgm:prSet presAssocID="{0B86E9D8-2989-46CD-8A31-2FFC3245D579}" presName="txFour" presStyleLbl="node4" presStyleIdx="6" presStyleCnt="16" custScaleY="39804">
        <dgm:presLayoutVars>
          <dgm:chPref val="3"/>
        </dgm:presLayoutVars>
      </dgm:prSet>
      <dgm:spPr>
        <a:prstGeom prst="rect">
          <a:avLst/>
        </a:prstGeom>
      </dgm:spPr>
    </dgm:pt>
    <dgm:pt modelId="{DE842033-C95C-4894-9EE1-D387EAEF35D7}" type="pres">
      <dgm:prSet presAssocID="{0B86E9D8-2989-46CD-8A31-2FFC3245D579}" presName="parTransFour" presStyleCnt="0"/>
      <dgm:spPr/>
    </dgm:pt>
    <dgm:pt modelId="{F1938DB0-8C1F-46F3-937E-77F720338D7D}" type="pres">
      <dgm:prSet presAssocID="{0B86E9D8-2989-46CD-8A31-2FFC3245D579}" presName="horzFour" presStyleCnt="0"/>
      <dgm:spPr/>
    </dgm:pt>
    <dgm:pt modelId="{F8C76488-6FF7-419A-A420-A09D12452380}" type="pres">
      <dgm:prSet presAssocID="{4E10654A-7A45-4F1E-A091-2FB0F9BE9DD5}" presName="vertFour" presStyleCnt="0">
        <dgm:presLayoutVars>
          <dgm:chPref val="3"/>
        </dgm:presLayoutVars>
      </dgm:prSet>
      <dgm:spPr/>
    </dgm:pt>
    <dgm:pt modelId="{D77ABBDD-D4F3-4868-9BF6-2EAD03AFC503}" type="pres">
      <dgm:prSet presAssocID="{4E10654A-7A45-4F1E-A091-2FB0F9BE9DD5}" presName="txFour" presStyleLbl="node4" presStyleIdx="7" presStyleCnt="16" custScaleY="30812">
        <dgm:presLayoutVars>
          <dgm:chPref val="3"/>
        </dgm:presLayoutVars>
      </dgm:prSet>
      <dgm:spPr>
        <a:prstGeom prst="roundRect">
          <a:avLst/>
        </a:prstGeom>
      </dgm:spPr>
    </dgm:pt>
    <dgm:pt modelId="{29AA3B20-514B-45D6-A81E-ADC62C48F01A}" type="pres">
      <dgm:prSet presAssocID="{4E10654A-7A45-4F1E-A091-2FB0F9BE9DD5}" presName="horzFour" presStyleCnt="0"/>
      <dgm:spPr/>
    </dgm:pt>
    <dgm:pt modelId="{051DFCF9-48D1-42A9-9110-A59A9A410BF5}" type="pres">
      <dgm:prSet presAssocID="{FB8B0C9F-0471-4664-9C23-D1A1F9E12A23}" presName="sibSpaceThree" presStyleCnt="0"/>
      <dgm:spPr/>
    </dgm:pt>
    <dgm:pt modelId="{00AE45EC-8C60-4AAF-AD6A-7C075592CFCF}" type="pres">
      <dgm:prSet presAssocID="{AEC552C1-9460-4A6B-A350-8626E9EE93F8}" presName="vertThree" presStyleCnt="0"/>
      <dgm:spPr/>
    </dgm:pt>
    <dgm:pt modelId="{5FEBF4B0-5352-4CF4-BA94-B97ECABD31DF}" type="pres">
      <dgm:prSet presAssocID="{AEC552C1-9460-4A6B-A350-8626E9EE93F8}" presName="txThree" presStyleLbl="node3" presStyleIdx="4" presStyleCnt="9" custLinFactNeighborX="806">
        <dgm:presLayoutVars>
          <dgm:chPref val="3"/>
        </dgm:presLayoutVars>
      </dgm:prSet>
      <dgm:spPr>
        <a:prstGeom prst="rect">
          <a:avLst/>
        </a:prstGeom>
      </dgm:spPr>
    </dgm:pt>
    <dgm:pt modelId="{CEAE44F4-E3CC-4B18-A83B-DAE5F54FC4A4}" type="pres">
      <dgm:prSet presAssocID="{AEC552C1-9460-4A6B-A350-8626E9EE93F8}" presName="parTransThree" presStyleCnt="0"/>
      <dgm:spPr/>
    </dgm:pt>
    <dgm:pt modelId="{0804BA65-C960-4961-90BF-66782BE91103}" type="pres">
      <dgm:prSet presAssocID="{AEC552C1-9460-4A6B-A350-8626E9EE93F8}" presName="horzThree" presStyleCnt="0"/>
      <dgm:spPr/>
    </dgm:pt>
    <dgm:pt modelId="{EF63C948-5926-488B-B63F-397C2138B55A}" type="pres">
      <dgm:prSet presAssocID="{9F56B52D-65D7-47B2-A592-EE63B679DDBA}" presName="vertFour" presStyleCnt="0">
        <dgm:presLayoutVars>
          <dgm:chPref val="3"/>
        </dgm:presLayoutVars>
      </dgm:prSet>
      <dgm:spPr/>
    </dgm:pt>
    <dgm:pt modelId="{F27E07BE-8E9C-431A-A43B-42D6237C2CC2}" type="pres">
      <dgm:prSet presAssocID="{9F56B52D-65D7-47B2-A592-EE63B679DDBA}" presName="txFour" presStyleLbl="node4" presStyleIdx="8" presStyleCnt="16" custScaleY="39804">
        <dgm:presLayoutVars>
          <dgm:chPref val="3"/>
        </dgm:presLayoutVars>
      </dgm:prSet>
      <dgm:spPr>
        <a:prstGeom prst="rect">
          <a:avLst/>
        </a:prstGeom>
      </dgm:spPr>
    </dgm:pt>
    <dgm:pt modelId="{67A212E4-7325-4D1A-84AA-843E6BECF1B4}" type="pres">
      <dgm:prSet presAssocID="{9F56B52D-65D7-47B2-A592-EE63B679DDBA}" presName="parTransFour" presStyleCnt="0"/>
      <dgm:spPr/>
    </dgm:pt>
    <dgm:pt modelId="{3E290BD0-B38B-4799-B4DC-3162BF1F71EB}" type="pres">
      <dgm:prSet presAssocID="{9F56B52D-65D7-47B2-A592-EE63B679DDBA}" presName="horzFour" presStyleCnt="0"/>
      <dgm:spPr/>
    </dgm:pt>
    <dgm:pt modelId="{1F58C828-8987-4CFF-A4B0-695D67EDCA7E}" type="pres">
      <dgm:prSet presAssocID="{9E66F086-8240-4A39-9D6F-AAB4542B6B59}" presName="vertFour" presStyleCnt="0">
        <dgm:presLayoutVars>
          <dgm:chPref val="3"/>
        </dgm:presLayoutVars>
      </dgm:prSet>
      <dgm:spPr/>
    </dgm:pt>
    <dgm:pt modelId="{B03FD510-0FFB-4099-AA24-125136653E34}" type="pres">
      <dgm:prSet presAssocID="{9E66F086-8240-4A39-9D6F-AAB4542B6B59}" presName="txFour" presStyleLbl="node4" presStyleIdx="9" presStyleCnt="16" custScaleY="30812">
        <dgm:presLayoutVars>
          <dgm:chPref val="3"/>
        </dgm:presLayoutVars>
      </dgm:prSet>
      <dgm:spPr>
        <a:prstGeom prst="roundRect">
          <a:avLst/>
        </a:prstGeom>
      </dgm:spPr>
    </dgm:pt>
    <dgm:pt modelId="{1F12E7AC-827F-414D-A136-669DB18FCCB9}" type="pres">
      <dgm:prSet presAssocID="{9E66F086-8240-4A39-9D6F-AAB4542B6B59}" presName="horzFour" presStyleCnt="0"/>
      <dgm:spPr/>
    </dgm:pt>
    <dgm:pt modelId="{2A3983F0-0B20-48E8-BF4A-E9FD2A66D694}" type="pres">
      <dgm:prSet presAssocID="{094A858E-5CC1-4FCE-891C-E77230597970}" presName="sibSpaceThree" presStyleCnt="0"/>
      <dgm:spPr/>
    </dgm:pt>
    <dgm:pt modelId="{C254633F-E68A-4360-85AF-CB6CE6E89789}" type="pres">
      <dgm:prSet presAssocID="{CA1C76EC-70A5-44A7-8735-465A638BBBE0}" presName="vertThree" presStyleCnt="0"/>
      <dgm:spPr/>
    </dgm:pt>
    <dgm:pt modelId="{1606090A-CBF6-4560-9564-C8F771C24059}" type="pres">
      <dgm:prSet presAssocID="{CA1C76EC-70A5-44A7-8735-465A638BBBE0}" presName="txThree" presStyleLbl="node3" presStyleIdx="5" presStyleCnt="9" custScaleX="97593">
        <dgm:presLayoutVars>
          <dgm:chPref val="3"/>
        </dgm:presLayoutVars>
      </dgm:prSet>
      <dgm:spPr>
        <a:prstGeom prst="rect">
          <a:avLst/>
        </a:prstGeom>
      </dgm:spPr>
    </dgm:pt>
    <dgm:pt modelId="{C375F705-0F2F-46BE-82B8-1230F9C77C55}" type="pres">
      <dgm:prSet presAssocID="{CA1C76EC-70A5-44A7-8735-465A638BBBE0}" presName="parTransThree" presStyleCnt="0"/>
      <dgm:spPr/>
    </dgm:pt>
    <dgm:pt modelId="{E72CDF4B-8116-4EF8-AB1D-F8225E9343AD}" type="pres">
      <dgm:prSet presAssocID="{CA1C76EC-70A5-44A7-8735-465A638BBBE0}" presName="horzThree" presStyleCnt="0"/>
      <dgm:spPr/>
    </dgm:pt>
    <dgm:pt modelId="{391592CA-952C-4408-86EC-B4BD65E08E92}" type="pres">
      <dgm:prSet presAssocID="{14A3DC44-6327-4D6D-B40D-9A83AACBDA65}" presName="vertFour" presStyleCnt="0">
        <dgm:presLayoutVars>
          <dgm:chPref val="3"/>
        </dgm:presLayoutVars>
      </dgm:prSet>
      <dgm:spPr/>
    </dgm:pt>
    <dgm:pt modelId="{860D0C41-7D91-40FF-9359-5816749CC2C3}" type="pres">
      <dgm:prSet presAssocID="{14A3DC44-6327-4D6D-B40D-9A83AACBDA65}" presName="txFour" presStyleLbl="node4" presStyleIdx="10" presStyleCnt="16" custScaleY="39804">
        <dgm:presLayoutVars>
          <dgm:chPref val="3"/>
        </dgm:presLayoutVars>
      </dgm:prSet>
      <dgm:spPr>
        <a:prstGeom prst="rect">
          <a:avLst/>
        </a:prstGeom>
      </dgm:spPr>
    </dgm:pt>
    <dgm:pt modelId="{C2A0AE61-B504-4E99-9CC2-65612876120F}" type="pres">
      <dgm:prSet presAssocID="{14A3DC44-6327-4D6D-B40D-9A83AACBDA65}" presName="parTransFour" presStyleCnt="0"/>
      <dgm:spPr/>
    </dgm:pt>
    <dgm:pt modelId="{A464CC22-ED58-49B7-AE3A-0929B6D15210}" type="pres">
      <dgm:prSet presAssocID="{14A3DC44-6327-4D6D-B40D-9A83AACBDA65}" presName="horzFour" presStyleCnt="0"/>
      <dgm:spPr/>
    </dgm:pt>
    <dgm:pt modelId="{FCCA09D5-3B10-4F6D-808D-398DC565DEEB}" type="pres">
      <dgm:prSet presAssocID="{A432EB43-B886-426B-B433-4F6F0BDA01F8}" presName="vertFour" presStyleCnt="0">
        <dgm:presLayoutVars>
          <dgm:chPref val="3"/>
        </dgm:presLayoutVars>
      </dgm:prSet>
      <dgm:spPr/>
    </dgm:pt>
    <dgm:pt modelId="{0E6A2259-CCE2-4F72-BC94-F90ED870164F}" type="pres">
      <dgm:prSet presAssocID="{A432EB43-B886-426B-B433-4F6F0BDA01F8}" presName="txFour" presStyleLbl="node4" presStyleIdx="11" presStyleCnt="16" custScaleY="30812">
        <dgm:presLayoutVars>
          <dgm:chPref val="3"/>
        </dgm:presLayoutVars>
      </dgm:prSet>
      <dgm:spPr>
        <a:prstGeom prst="roundRect">
          <a:avLst/>
        </a:prstGeom>
      </dgm:spPr>
    </dgm:pt>
    <dgm:pt modelId="{B385F890-ABE1-4D31-97D6-618AEDF5FEFC}" type="pres">
      <dgm:prSet presAssocID="{A432EB43-B886-426B-B433-4F6F0BDA01F8}" presName="horzFour" presStyleCnt="0"/>
      <dgm:spPr/>
    </dgm:pt>
    <dgm:pt modelId="{884D2CDC-1CC1-4635-A496-4AEB747563FA}" type="pres">
      <dgm:prSet presAssocID="{DFC3EC1B-B94B-41DE-A091-756879E84FB9}" presName="sibSpaceThree" presStyleCnt="0"/>
      <dgm:spPr/>
    </dgm:pt>
    <dgm:pt modelId="{C1267F0C-1D11-4E52-B843-DA54CC2C567E}" type="pres">
      <dgm:prSet presAssocID="{A7CEC0D3-E60A-42C7-85B3-F23A5AFD5BDD}" presName="vertThree" presStyleCnt="0"/>
      <dgm:spPr/>
    </dgm:pt>
    <dgm:pt modelId="{D115008D-D7CB-4647-802F-BD4521421C14}" type="pres">
      <dgm:prSet presAssocID="{A7CEC0D3-E60A-42C7-85B3-F23A5AFD5BDD}" presName="txThree" presStyleLbl="node3" presStyleIdx="6" presStyleCnt="9">
        <dgm:presLayoutVars>
          <dgm:chPref val="3"/>
        </dgm:presLayoutVars>
      </dgm:prSet>
      <dgm:spPr>
        <a:prstGeom prst="rect">
          <a:avLst/>
        </a:prstGeom>
      </dgm:spPr>
    </dgm:pt>
    <dgm:pt modelId="{617AFA22-8482-429F-9E23-BFCA70320E05}" type="pres">
      <dgm:prSet presAssocID="{A7CEC0D3-E60A-42C7-85B3-F23A5AFD5BDD}" presName="parTransThree" presStyleCnt="0"/>
      <dgm:spPr/>
    </dgm:pt>
    <dgm:pt modelId="{26E3C3EF-5F04-47B1-834F-B58F201F0554}" type="pres">
      <dgm:prSet presAssocID="{A7CEC0D3-E60A-42C7-85B3-F23A5AFD5BDD}" presName="horzThree" presStyleCnt="0"/>
      <dgm:spPr/>
    </dgm:pt>
    <dgm:pt modelId="{DCCDC11A-1E15-4479-9EB0-D06986C6D02B}" type="pres">
      <dgm:prSet presAssocID="{1F10BA1E-6AF9-43C6-B282-7693ADD716F2}" presName="vertFour" presStyleCnt="0">
        <dgm:presLayoutVars>
          <dgm:chPref val="3"/>
        </dgm:presLayoutVars>
      </dgm:prSet>
      <dgm:spPr/>
    </dgm:pt>
    <dgm:pt modelId="{EF41AA96-9146-4D8D-BEC7-DF18E6370906}" type="pres">
      <dgm:prSet presAssocID="{1F10BA1E-6AF9-43C6-B282-7693ADD716F2}" presName="txFour" presStyleLbl="node4" presStyleIdx="12" presStyleCnt="16" custScaleY="39804">
        <dgm:presLayoutVars>
          <dgm:chPref val="3"/>
        </dgm:presLayoutVars>
      </dgm:prSet>
      <dgm:spPr>
        <a:prstGeom prst="rect">
          <a:avLst/>
        </a:prstGeom>
      </dgm:spPr>
    </dgm:pt>
    <dgm:pt modelId="{3EA5DD12-D90F-4A45-B26B-D17DCE62358C}" type="pres">
      <dgm:prSet presAssocID="{1F10BA1E-6AF9-43C6-B282-7693ADD716F2}" presName="parTransFour" presStyleCnt="0"/>
      <dgm:spPr/>
    </dgm:pt>
    <dgm:pt modelId="{380A4938-78B8-423C-B84B-8EDCE9770251}" type="pres">
      <dgm:prSet presAssocID="{1F10BA1E-6AF9-43C6-B282-7693ADD716F2}" presName="horzFour" presStyleCnt="0"/>
      <dgm:spPr/>
    </dgm:pt>
    <dgm:pt modelId="{E90F88DA-5E61-424A-B732-5C68303019C3}" type="pres">
      <dgm:prSet presAssocID="{01501A0C-32D4-45EC-970B-EE352A93E6C7}" presName="vertFour" presStyleCnt="0">
        <dgm:presLayoutVars>
          <dgm:chPref val="3"/>
        </dgm:presLayoutVars>
      </dgm:prSet>
      <dgm:spPr/>
    </dgm:pt>
    <dgm:pt modelId="{44BD1967-3E34-4716-8289-46054D7A91BC}" type="pres">
      <dgm:prSet presAssocID="{01501A0C-32D4-45EC-970B-EE352A93E6C7}" presName="txFour" presStyleLbl="node4" presStyleIdx="13" presStyleCnt="16" custScaleY="30812">
        <dgm:presLayoutVars>
          <dgm:chPref val="3"/>
        </dgm:presLayoutVars>
      </dgm:prSet>
      <dgm:spPr>
        <a:prstGeom prst="roundRect">
          <a:avLst/>
        </a:prstGeom>
      </dgm:spPr>
    </dgm:pt>
    <dgm:pt modelId="{1D2F490A-8DF8-4A11-94F0-5AFF923A9FB9}" type="pres">
      <dgm:prSet presAssocID="{01501A0C-32D4-45EC-970B-EE352A93E6C7}" presName="horzFour" presStyleCnt="0"/>
      <dgm:spPr/>
    </dgm:pt>
    <dgm:pt modelId="{0F693D78-C22A-4C84-AA7F-E6BEA286636A}" type="pres">
      <dgm:prSet presAssocID="{72D9E7A2-96D4-4FB3-AFD8-04E98A8D7F4D}" presName="sibSpaceOne" presStyleCnt="0"/>
      <dgm:spPr/>
    </dgm:pt>
    <dgm:pt modelId="{6059686E-7D76-4521-90A3-AE1CE243AE4A}" type="pres">
      <dgm:prSet presAssocID="{65C9A464-E317-45F9-812D-4551E0131DBE}" presName="vertOne" presStyleCnt="0"/>
      <dgm:spPr/>
    </dgm:pt>
    <dgm:pt modelId="{6CB645E4-165D-4F7D-91EB-E32C1DA6695D}" type="pres">
      <dgm:prSet presAssocID="{65C9A464-E317-45F9-812D-4551E0131DBE}" presName="txOne" presStyleLbl="node0" presStyleIdx="1" presStyleCnt="2" custScaleY="50352">
        <dgm:presLayoutVars>
          <dgm:chPref val="3"/>
        </dgm:presLayoutVars>
      </dgm:prSet>
      <dgm:spPr>
        <a:prstGeom prst="rect">
          <a:avLst/>
        </a:prstGeom>
      </dgm:spPr>
    </dgm:pt>
    <dgm:pt modelId="{A4B318EB-AB48-4AFB-BE60-F6E2B11B3F5C}" type="pres">
      <dgm:prSet presAssocID="{65C9A464-E317-45F9-812D-4551E0131DBE}" presName="parTransOne" presStyleCnt="0"/>
      <dgm:spPr/>
    </dgm:pt>
    <dgm:pt modelId="{BD5F5E83-AF62-45ED-ABD6-470E19BE4377}" type="pres">
      <dgm:prSet presAssocID="{65C9A464-E317-45F9-812D-4551E0131DBE}" presName="horzOne" presStyleCnt="0"/>
      <dgm:spPr/>
    </dgm:pt>
    <dgm:pt modelId="{536B6ABA-FCA2-4D53-B710-4F7EC610EBD4}" type="pres">
      <dgm:prSet presAssocID="{FEFBB3A0-4F8C-4B14-9398-F60667512088}" presName="vertTwo" presStyleCnt="0"/>
      <dgm:spPr/>
    </dgm:pt>
    <dgm:pt modelId="{F3EFB9E2-C90F-4E21-BBFD-749E7C89B8EE}" type="pres">
      <dgm:prSet presAssocID="{FEFBB3A0-4F8C-4B14-9398-F60667512088}" presName="txTwo" presStyleLbl="node2" presStyleIdx="2" presStyleCnt="3" custScaleY="50562">
        <dgm:presLayoutVars>
          <dgm:chPref val="3"/>
        </dgm:presLayoutVars>
      </dgm:prSet>
      <dgm:spPr>
        <a:prstGeom prst="rect">
          <a:avLst/>
        </a:prstGeom>
      </dgm:spPr>
    </dgm:pt>
    <dgm:pt modelId="{8E73D373-ED23-4C5A-B3CB-7C58698DA000}" type="pres">
      <dgm:prSet presAssocID="{FEFBB3A0-4F8C-4B14-9398-F60667512088}" presName="parTransTwo" presStyleCnt="0"/>
      <dgm:spPr/>
    </dgm:pt>
    <dgm:pt modelId="{54C708C0-04DD-45F8-BC6A-4DB2C62E2D7B}" type="pres">
      <dgm:prSet presAssocID="{FEFBB3A0-4F8C-4B14-9398-F60667512088}" presName="horzTwo" presStyleCnt="0"/>
      <dgm:spPr/>
    </dgm:pt>
    <dgm:pt modelId="{F5EDEB03-EFD8-4D60-823B-18D4BF3CA48C}" type="pres">
      <dgm:prSet presAssocID="{ED049977-39E3-4F77-AF7B-EFF48333ECB6}" presName="vertThree" presStyleCnt="0"/>
      <dgm:spPr/>
    </dgm:pt>
    <dgm:pt modelId="{481BDC1E-D7EB-49C0-8087-641F27121418}" type="pres">
      <dgm:prSet presAssocID="{ED049977-39E3-4F77-AF7B-EFF48333ECB6}" presName="txThree" presStyleLbl="node3" presStyleIdx="7" presStyleCnt="9">
        <dgm:presLayoutVars>
          <dgm:chPref val="3"/>
        </dgm:presLayoutVars>
      </dgm:prSet>
      <dgm:spPr>
        <a:prstGeom prst="rect">
          <a:avLst/>
        </a:prstGeom>
      </dgm:spPr>
    </dgm:pt>
    <dgm:pt modelId="{3B3873AC-93A5-4DEC-BE51-A5DC1FF15306}" type="pres">
      <dgm:prSet presAssocID="{ED049977-39E3-4F77-AF7B-EFF48333ECB6}" presName="parTransThree" presStyleCnt="0"/>
      <dgm:spPr/>
    </dgm:pt>
    <dgm:pt modelId="{D26739AF-CE4E-4A41-80C9-16329238E1B7}" type="pres">
      <dgm:prSet presAssocID="{ED049977-39E3-4F77-AF7B-EFF48333ECB6}" presName="horzThree" presStyleCnt="0"/>
      <dgm:spPr/>
    </dgm:pt>
    <dgm:pt modelId="{31B5FD87-FCF1-4DA9-A04F-3E0022E3517F}" type="pres">
      <dgm:prSet presAssocID="{115227F1-C0BF-42AE-AECA-E4073789DC17}" presName="vertFour" presStyleCnt="0">
        <dgm:presLayoutVars>
          <dgm:chPref val="3"/>
        </dgm:presLayoutVars>
      </dgm:prSet>
      <dgm:spPr/>
    </dgm:pt>
    <dgm:pt modelId="{74863A0D-B3D5-4C02-874A-C6FED0DD3447}" type="pres">
      <dgm:prSet presAssocID="{115227F1-C0BF-42AE-AECA-E4073789DC17}" presName="txFour" presStyleLbl="node4" presStyleIdx="14" presStyleCnt="16" custScaleY="39804">
        <dgm:presLayoutVars>
          <dgm:chPref val="3"/>
        </dgm:presLayoutVars>
      </dgm:prSet>
      <dgm:spPr>
        <a:prstGeom prst="rect">
          <a:avLst/>
        </a:prstGeom>
      </dgm:spPr>
    </dgm:pt>
    <dgm:pt modelId="{A91FFA71-9578-41E3-8CBA-5EF9BC152835}" type="pres">
      <dgm:prSet presAssocID="{115227F1-C0BF-42AE-AECA-E4073789DC17}" presName="horzFour" presStyleCnt="0"/>
      <dgm:spPr/>
    </dgm:pt>
    <dgm:pt modelId="{5824E90D-C96E-4043-8852-9F05CD5B0E29}" type="pres">
      <dgm:prSet presAssocID="{F3784CF9-A2BF-4E64-84E6-4810F5E5B81F}" presName="sibSpaceThree" presStyleCnt="0"/>
      <dgm:spPr/>
    </dgm:pt>
    <dgm:pt modelId="{B8698699-3B75-4E82-899E-993EAFA30C30}" type="pres">
      <dgm:prSet presAssocID="{28C2C7F4-3433-483C-86C6-9AC3A7F7A6A6}" presName="vertThree" presStyleCnt="0"/>
      <dgm:spPr/>
    </dgm:pt>
    <dgm:pt modelId="{8C1A5F67-FAC0-470F-AB23-4BD8D82C2753}" type="pres">
      <dgm:prSet presAssocID="{28C2C7F4-3433-483C-86C6-9AC3A7F7A6A6}" presName="txThree" presStyleLbl="node3" presStyleIdx="8" presStyleCnt="9" custScaleX="106759">
        <dgm:presLayoutVars>
          <dgm:chPref val="3"/>
        </dgm:presLayoutVars>
      </dgm:prSet>
      <dgm:spPr>
        <a:prstGeom prst="rect">
          <a:avLst/>
        </a:prstGeom>
      </dgm:spPr>
    </dgm:pt>
    <dgm:pt modelId="{087B7418-DA5E-4033-89F0-F308C81112D5}" type="pres">
      <dgm:prSet presAssocID="{28C2C7F4-3433-483C-86C6-9AC3A7F7A6A6}" presName="parTransThree" presStyleCnt="0"/>
      <dgm:spPr/>
    </dgm:pt>
    <dgm:pt modelId="{DC0E6E3F-FB08-46AF-B8C7-E7094EE45210}" type="pres">
      <dgm:prSet presAssocID="{28C2C7F4-3433-483C-86C6-9AC3A7F7A6A6}" presName="horzThree" presStyleCnt="0"/>
      <dgm:spPr/>
    </dgm:pt>
    <dgm:pt modelId="{7D85E972-6A99-4967-9A27-75A05B82C2BA}" type="pres">
      <dgm:prSet presAssocID="{BE949F0B-342E-4F4E-AFE2-1B2BB434088D}" presName="vertFour" presStyleCnt="0">
        <dgm:presLayoutVars>
          <dgm:chPref val="3"/>
        </dgm:presLayoutVars>
      </dgm:prSet>
      <dgm:spPr/>
    </dgm:pt>
    <dgm:pt modelId="{3CA3528E-A79C-4CDC-BB89-C83F92ACC55F}" type="pres">
      <dgm:prSet presAssocID="{BE949F0B-342E-4F4E-AFE2-1B2BB434088D}" presName="txFour" presStyleLbl="node4" presStyleIdx="15" presStyleCnt="16" custScaleY="39804">
        <dgm:presLayoutVars>
          <dgm:chPref val="3"/>
        </dgm:presLayoutVars>
      </dgm:prSet>
      <dgm:spPr>
        <a:prstGeom prst="rect">
          <a:avLst/>
        </a:prstGeom>
      </dgm:spPr>
    </dgm:pt>
    <dgm:pt modelId="{B33C16FD-7515-4B7F-802C-115861E462B5}" type="pres">
      <dgm:prSet presAssocID="{BE949F0B-342E-4F4E-AFE2-1B2BB434088D}" presName="horzFour" presStyleCnt="0"/>
      <dgm:spPr/>
    </dgm:pt>
  </dgm:ptLst>
  <dgm:cxnLst>
    <dgm:cxn modelId="{87511301-DDE7-422C-B94E-1CE80D196A1D}" srcId="{AB599D6A-2281-44CA-8509-555AAB1BF18D}" destId="{A46722DE-F5DB-428C-AD9D-529A1A8EB6B5}" srcOrd="0" destOrd="0" parTransId="{6C0CF7DD-A972-4658-9345-C72F5BDA2265}" sibTransId="{C846CA2E-2811-46A8-B3FA-B1CF81374F42}"/>
    <dgm:cxn modelId="{9EC18B05-424D-4986-A0D6-1A6B757A568F}" type="presOf" srcId="{0B86E9D8-2989-46CD-8A31-2FFC3245D579}" destId="{199D9393-D571-4D11-93CA-0D1F9E35E890}" srcOrd="0" destOrd="0" presId="urn:microsoft.com/office/officeart/2005/8/layout/hierarchy4"/>
    <dgm:cxn modelId="{1846230E-4930-4BDB-9D68-6C2535052E91}" srcId="{2A42B98D-1BCB-489B-A10D-CCB8FFF8E78D}" destId="{5B4D7EDC-4D96-408C-A6E7-88CAA30176CC}" srcOrd="0" destOrd="0" parTransId="{B7F18051-0E2E-4987-ABB9-8C085BB062BF}" sibTransId="{E13423DA-5BC6-46B9-97B0-633CB7D1EB97}"/>
    <dgm:cxn modelId="{EDF04F0F-E1AB-4C92-82FC-2D5FB4BBE386}" srcId="{A4F77456-EA70-4341-AF87-B198ABFF9EF3}" destId="{0B86E9D8-2989-46CD-8A31-2FFC3245D579}" srcOrd="0" destOrd="0" parTransId="{4CF06E0B-9E56-4E45-A868-63ABD9F2CC57}" sibTransId="{2F8DA5BE-889C-4BD7-9E9F-DD6521F6A55E}"/>
    <dgm:cxn modelId="{DB357E1A-BB8F-448D-89DB-94C14A091EF8}" type="presOf" srcId="{28C2C7F4-3433-483C-86C6-9AC3A7F7A6A6}" destId="{8C1A5F67-FAC0-470F-AB23-4BD8D82C2753}" srcOrd="0" destOrd="0" presId="urn:microsoft.com/office/officeart/2005/8/layout/hierarchy4"/>
    <dgm:cxn modelId="{7FF7AD1F-FB17-4512-B3F8-B968165227FA}" srcId="{56F0B837-77CC-4250-B160-D8D1908D7ACD}" destId="{30F9429F-A24A-47ED-9415-07444B0EDA53}" srcOrd="1" destOrd="0" parTransId="{DF444A8A-F402-4A73-829F-292B21652C4C}" sibTransId="{4B2B285F-14A1-4BAD-BBAE-9CD81C13FA4D}"/>
    <dgm:cxn modelId="{A9F75A26-2C83-4632-8602-C50AA6729252}" type="presOf" srcId="{9E66F086-8240-4A39-9D6F-AAB4542B6B59}" destId="{B03FD510-0FFB-4099-AA24-125136653E34}" srcOrd="0" destOrd="0" presId="urn:microsoft.com/office/officeart/2005/8/layout/hierarchy4"/>
    <dgm:cxn modelId="{CB317631-7EC9-45B6-9A35-5BBEADEB6E6C}" type="presOf" srcId="{3628C7B8-193A-4CC1-9548-E1EA022F10B3}" destId="{C6A5189C-4A84-41E7-BCB3-462D1FC24D12}" srcOrd="0" destOrd="0" presId="urn:microsoft.com/office/officeart/2005/8/layout/hierarchy4"/>
    <dgm:cxn modelId="{599DAB39-12A8-4FED-924A-D16346A2B4D4}" srcId="{28C2C7F4-3433-483C-86C6-9AC3A7F7A6A6}" destId="{BE949F0B-342E-4F4E-AFE2-1B2BB434088D}" srcOrd="0" destOrd="0" parTransId="{E7A03244-78AF-446B-95D6-889B3D2747D6}" sibTransId="{B897A07A-F1EB-4A5F-A20C-163546C880DB}"/>
    <dgm:cxn modelId="{2F7F9B3A-EBC7-4C85-9FD8-C48DF03C7B11}" srcId="{A7CEC0D3-E60A-42C7-85B3-F23A5AFD5BDD}" destId="{1F10BA1E-6AF9-43C6-B282-7693ADD716F2}" srcOrd="0" destOrd="0" parTransId="{35D3903C-03E1-47D4-8E87-C56116D0A10B}" sibTransId="{33516751-67A8-4744-8882-199C108EA0A9}"/>
    <dgm:cxn modelId="{8229975B-E3EF-49C8-9A1B-D982F82E95EF}" srcId="{14A3DC44-6327-4D6D-B40D-9A83AACBDA65}" destId="{A432EB43-B886-426B-B433-4F6F0BDA01F8}" srcOrd="0" destOrd="0" parTransId="{91F5DB63-0474-4013-8F70-08354CD6152C}" sibTransId="{6EA38B86-ABC1-42B2-AADA-69BC35D2CEF2}"/>
    <dgm:cxn modelId="{82B4EF5E-825D-4B63-AB76-31CE16317C7F}" type="presOf" srcId="{ED049977-39E3-4F77-AF7B-EFF48333ECB6}" destId="{481BDC1E-D7EB-49C0-8087-641F27121418}" srcOrd="0" destOrd="0" presId="urn:microsoft.com/office/officeart/2005/8/layout/hierarchy4"/>
    <dgm:cxn modelId="{CE0F6F41-5C14-4291-97B6-0BDC898C70D4}" type="presOf" srcId="{CA1C76EC-70A5-44A7-8735-465A638BBBE0}" destId="{1606090A-CBF6-4560-9564-C8F771C24059}" srcOrd="0" destOrd="0" presId="urn:microsoft.com/office/officeart/2005/8/layout/hierarchy4"/>
    <dgm:cxn modelId="{9E550862-9B57-43F0-AF25-D87816AB8FA9}" type="presOf" srcId="{9F56B52D-65D7-47B2-A592-EE63B679DDBA}" destId="{F27E07BE-8E9C-431A-A43B-42D6237C2CC2}" srcOrd="0" destOrd="0" presId="urn:microsoft.com/office/officeart/2005/8/layout/hierarchy4"/>
    <dgm:cxn modelId="{55646364-D5BB-46B7-9051-80E3E8DDDB9B}" type="presOf" srcId="{5B4D7EDC-4D96-408C-A6E7-88CAA30176CC}" destId="{5F68167F-933F-4172-A4D7-6F6CE325B3D1}" srcOrd="0" destOrd="0" presId="urn:microsoft.com/office/officeart/2005/8/layout/hierarchy4"/>
    <dgm:cxn modelId="{2BD2B844-ACCE-4AA4-8124-D7E5224C04AF}" srcId="{3E8CAFCC-5ED8-4056-8E52-D80DF983F100}" destId="{D260231F-D0C1-4F2C-A4FA-A3B45DF503CF}" srcOrd="0" destOrd="0" parTransId="{3DE0AF54-BF71-4B75-9BA0-23BB3DFF9291}" sibTransId="{9595A927-37A9-4754-AB5B-FFC655AF6C1B}"/>
    <dgm:cxn modelId="{C6DC2B65-DE16-4233-8FF5-91D316E176A8}" srcId="{AB599D6A-2281-44CA-8509-555AAB1BF18D}" destId="{A4F77456-EA70-4341-AF87-B198ABFF9EF3}" srcOrd="1" destOrd="0" parTransId="{0B7BE108-47A2-4932-AF6F-34277AAA66E7}" sibTransId="{FB8B0C9F-0471-4664-9C23-D1A1F9E12A23}"/>
    <dgm:cxn modelId="{D2D06C65-866A-4800-B22F-9E44DA6743CC}" type="presOf" srcId="{AB599D6A-2281-44CA-8509-555AAB1BF18D}" destId="{BAC4AE3E-D08F-4727-B9A3-CC4CBF71E578}" srcOrd="0" destOrd="0" presId="urn:microsoft.com/office/officeart/2005/8/layout/hierarchy4"/>
    <dgm:cxn modelId="{08407848-4884-424B-B11B-CA0EA1156667}" srcId="{FEFBB3A0-4F8C-4B14-9398-F60667512088}" destId="{ED049977-39E3-4F77-AF7B-EFF48333ECB6}" srcOrd="0" destOrd="0" parTransId="{76FA1A83-C826-42E3-B16B-C76553D04545}" sibTransId="{F3784CF9-A2BF-4E64-84E6-4810F5E5B81F}"/>
    <dgm:cxn modelId="{B3C0CD6C-7EFE-429E-9A3D-CFAB921C07E0}" type="presOf" srcId="{65C9A464-E317-45F9-812D-4551E0131DBE}" destId="{6CB645E4-165D-4F7D-91EB-E32C1DA6695D}" srcOrd="0" destOrd="0" presId="urn:microsoft.com/office/officeart/2005/8/layout/hierarchy4"/>
    <dgm:cxn modelId="{23ABA44E-82DF-4736-B0FB-A43198C6E027}" type="presOf" srcId="{A46722DE-F5DB-428C-AD9D-529A1A8EB6B5}" destId="{F84C305B-830A-4B17-983C-73795E31F6DD}" srcOrd="0" destOrd="0" presId="urn:microsoft.com/office/officeart/2005/8/layout/hierarchy4"/>
    <dgm:cxn modelId="{C09F9451-CE77-4BB0-A8AA-C5DAA93977B1}" type="presOf" srcId="{4E10654A-7A45-4F1E-A091-2FB0F9BE9DD5}" destId="{D77ABBDD-D4F3-4868-9BF6-2EAD03AFC503}" srcOrd="0" destOrd="0" presId="urn:microsoft.com/office/officeart/2005/8/layout/hierarchy4"/>
    <dgm:cxn modelId="{D46B4952-F7B9-4389-8E19-ECAEEF056003}" type="presOf" srcId="{A4F77456-EA70-4341-AF87-B198ABFF9EF3}" destId="{332BF639-B21F-4F7E-AED3-AAA5096ECA29}" srcOrd="0" destOrd="0" presId="urn:microsoft.com/office/officeart/2005/8/layout/hierarchy4"/>
    <dgm:cxn modelId="{AD12C755-9029-4A3B-A8D4-844BDF7B2E44}" srcId="{5B4D7EDC-4D96-408C-A6E7-88CAA30176CC}" destId="{C113C547-A9BD-4F30-98C7-A5CD2249C3E5}" srcOrd="0" destOrd="0" parTransId="{1BAD55BB-66A9-41A8-B83B-65D7835D55B4}" sibTransId="{3D018F52-0739-483F-B1D8-D7914A19BA7A}"/>
    <dgm:cxn modelId="{CF7E4457-9273-44B8-A8FC-2018D65DED98}" type="presOf" srcId="{115227F1-C0BF-42AE-AECA-E4073789DC17}" destId="{74863A0D-B3D5-4C02-874A-C6FED0DD3447}" srcOrd="0" destOrd="0" presId="urn:microsoft.com/office/officeart/2005/8/layout/hierarchy4"/>
    <dgm:cxn modelId="{9243F558-9BB9-467A-A79E-888A9857D534}" type="presOf" srcId="{14A3DC44-6327-4D6D-B40D-9A83AACBDA65}" destId="{860D0C41-7D91-40FF-9359-5816749CC2C3}" srcOrd="0" destOrd="0" presId="urn:microsoft.com/office/officeart/2005/8/layout/hierarchy4"/>
    <dgm:cxn modelId="{ED4AC05A-2706-4B63-B3E1-E7631F8DFF37}" type="presOf" srcId="{01501A0C-32D4-45EC-970B-EE352A93E6C7}" destId="{44BD1967-3E34-4716-8289-46054D7A91BC}" srcOrd="0" destOrd="0" presId="urn:microsoft.com/office/officeart/2005/8/layout/hierarchy4"/>
    <dgm:cxn modelId="{4BD2AA7C-1551-4686-9029-8EE3DFD44388}" srcId="{65C9A464-E317-45F9-812D-4551E0131DBE}" destId="{FEFBB3A0-4F8C-4B14-9398-F60667512088}" srcOrd="0" destOrd="0" parTransId="{23705625-E6DE-44AA-858C-C1AC2A9802B8}" sibTransId="{EF305D3B-099C-4934-B2B1-CD97C6479B11}"/>
    <dgm:cxn modelId="{3C35B07F-FF7F-41BA-B690-988510090563}" type="presOf" srcId="{56F0B837-77CC-4250-B160-D8D1908D7ACD}" destId="{D2255599-8653-42D5-B4CD-A8F5683094AB}" srcOrd="0" destOrd="0" presId="urn:microsoft.com/office/officeart/2005/8/layout/hierarchy4"/>
    <dgm:cxn modelId="{F9AB2981-321F-44AE-8C1A-2F5B10513E37}" type="presOf" srcId="{30F9429F-A24A-47ED-9415-07444B0EDA53}" destId="{A49620BC-2220-4885-A334-E204AF06D23F}" srcOrd="0" destOrd="0" presId="urn:microsoft.com/office/officeart/2005/8/layout/hierarchy4"/>
    <dgm:cxn modelId="{95782383-91E4-4F72-841A-E14DA12A2317}" srcId="{3628C7B8-193A-4CC1-9548-E1EA022F10B3}" destId="{3D402A75-BC1A-41D5-940B-202616F8E6E6}" srcOrd="0" destOrd="0" parTransId="{5D08F144-741C-4C89-85DF-0D98587FB81A}" sibTransId="{0FCFA505-F507-4542-955D-7D274ACC5994}"/>
    <dgm:cxn modelId="{92EBEC86-5460-4D5B-A993-329103B82E29}" type="presOf" srcId="{FEFBB3A0-4F8C-4B14-9398-F60667512088}" destId="{F3EFB9E2-C90F-4E21-BBFD-749E7C89B8EE}" srcOrd="0" destOrd="0" presId="urn:microsoft.com/office/officeart/2005/8/layout/hierarchy4"/>
    <dgm:cxn modelId="{3D0C378A-6D96-4724-B10D-0BECB9076488}" type="presOf" srcId="{AEC552C1-9460-4A6B-A350-8626E9EE93F8}" destId="{5FEBF4B0-5352-4CF4-BA94-B97ECABD31DF}" srcOrd="0" destOrd="0" presId="urn:microsoft.com/office/officeart/2005/8/layout/hierarchy4"/>
    <dgm:cxn modelId="{16837F8A-3D3A-42A7-BD96-AA07179FEEFB}" type="presOf" srcId="{3D402A75-BC1A-41D5-940B-202616F8E6E6}" destId="{CD91BE6D-6FF9-4C3F-907A-416A62ADE6E2}" srcOrd="0" destOrd="0" presId="urn:microsoft.com/office/officeart/2005/8/layout/hierarchy4"/>
    <dgm:cxn modelId="{0CECD58A-B15F-4050-9A45-24EF4A9A7883}" type="presOf" srcId="{D260231F-D0C1-4F2C-A4FA-A3B45DF503CF}" destId="{6E1734B3-637B-4774-9150-609D38A59EFF}" srcOrd="0" destOrd="0" presId="urn:microsoft.com/office/officeart/2005/8/layout/hierarchy4"/>
    <dgm:cxn modelId="{300E6190-4061-422D-BBA9-0AC53B2F7B4A}" srcId="{A46722DE-F5DB-428C-AD9D-529A1A8EB6B5}" destId="{3E8CAFCC-5ED8-4056-8E52-D80DF983F100}" srcOrd="0" destOrd="0" parTransId="{97C88C50-7C08-474F-9F6F-19F2628B51D0}" sibTransId="{52E854CC-F072-458A-AD1F-2CBBEACE6B67}"/>
    <dgm:cxn modelId="{0CE9D491-84D3-48C3-85B6-91D8D1C29F50}" srcId="{F4B8CA77-E962-43A9-9043-6F80915B71EE}" destId="{AB599D6A-2281-44CA-8509-555AAB1BF18D}" srcOrd="1" destOrd="0" parTransId="{EC4211B5-A4F5-406D-9529-E22A735FCA85}" sibTransId="{F620B1D0-00ED-4E74-A38E-BC65177F4CD6}"/>
    <dgm:cxn modelId="{9DA30D9B-3C4B-4CF9-AF2C-8EEAA730DF1C}" type="presOf" srcId="{F4B8CA77-E962-43A9-9043-6F80915B71EE}" destId="{29908D46-0580-410D-BF82-DBA3019C1C96}" srcOrd="0" destOrd="0" presId="urn:microsoft.com/office/officeart/2005/8/layout/hierarchy4"/>
    <dgm:cxn modelId="{EF454C9E-5F67-483E-ACD8-7922AAC7E3B4}" srcId="{FACC27D3-03E2-482C-8A7C-514525D792D9}" destId="{F4B8CA77-E962-43A9-9043-6F80915B71EE}" srcOrd="0" destOrd="0" parTransId="{F5A1EC61-91F7-474A-8D77-9EC2099E9C4D}" sibTransId="{72D9E7A2-96D4-4FB3-AFD8-04E98A8D7F4D}"/>
    <dgm:cxn modelId="{0228D1A0-63B9-4F28-BF37-2EDCECCA7386}" srcId="{AB599D6A-2281-44CA-8509-555AAB1BF18D}" destId="{AEC552C1-9460-4A6B-A350-8626E9EE93F8}" srcOrd="2" destOrd="0" parTransId="{141138F8-D3BA-4003-8A5E-BB223BCA31D0}" sibTransId="{094A858E-5CC1-4FCE-891C-E77230597970}"/>
    <dgm:cxn modelId="{0B5AA8A7-D270-45DB-BBBD-9C63E77E5181}" srcId="{9F56B52D-65D7-47B2-A592-EE63B679DDBA}" destId="{9E66F086-8240-4A39-9D6F-AAB4542B6B59}" srcOrd="0" destOrd="0" parTransId="{4449C318-1915-4242-A6CD-421E5AE96A5A}" sibTransId="{999964B9-97CA-4626-8A23-02181D02317B}"/>
    <dgm:cxn modelId="{747367AA-D085-4A71-A5C7-AFD9E1190BF1}" type="presOf" srcId="{BE949F0B-342E-4F4E-AFE2-1B2BB434088D}" destId="{3CA3528E-A79C-4CDC-BB89-C83F92ACC55F}" srcOrd="0" destOrd="0" presId="urn:microsoft.com/office/officeart/2005/8/layout/hierarchy4"/>
    <dgm:cxn modelId="{921D6DAD-41C6-4146-9428-011CE7D778C7}" type="presOf" srcId="{FACC27D3-03E2-482C-8A7C-514525D792D9}" destId="{C1E83283-3450-4F62-B0D5-17E107757E59}" srcOrd="0" destOrd="0" presId="urn:microsoft.com/office/officeart/2005/8/layout/hierarchy4"/>
    <dgm:cxn modelId="{8904EBB1-5FC3-4435-9844-0C9D87EA80D0}" srcId="{1F10BA1E-6AF9-43C6-B282-7693ADD716F2}" destId="{01501A0C-32D4-45EC-970B-EE352A93E6C7}" srcOrd="0" destOrd="0" parTransId="{92A8597E-B1EC-401E-9C4E-21626A0BE435}" sibTransId="{4F25AB1F-C501-4564-9D91-8EDD7C8A2C5D}"/>
    <dgm:cxn modelId="{4C6A27B2-908B-4F94-AB0A-E2FCD192B6B1}" type="presOf" srcId="{C113C547-A9BD-4F30-98C7-A5CD2249C3E5}" destId="{5551053A-5DB3-4192-8AC4-90940E0FBC18}" srcOrd="0" destOrd="0" presId="urn:microsoft.com/office/officeart/2005/8/layout/hierarchy4"/>
    <dgm:cxn modelId="{E6547BB3-C8FA-44C8-8455-1D114E5746CA}" type="presOf" srcId="{2A42B98D-1BCB-489B-A10D-CCB8FFF8E78D}" destId="{E1CBC346-62EA-420C-ACCF-41A23150E402}" srcOrd="0" destOrd="0" presId="urn:microsoft.com/office/officeart/2005/8/layout/hierarchy4"/>
    <dgm:cxn modelId="{CEE75AB7-2EE7-4DA6-A840-1E8CBD6BBC12}" srcId="{30F9429F-A24A-47ED-9415-07444B0EDA53}" destId="{3628C7B8-193A-4CC1-9548-E1EA022F10B3}" srcOrd="0" destOrd="0" parTransId="{A9DC8B1E-D140-41BF-B8F3-B6669EA18AA7}" sibTransId="{280D3735-A635-4920-A360-D44AF6AD12A9}"/>
    <dgm:cxn modelId="{BDEB25BC-B83E-495E-B8DD-0042C4228DF0}" srcId="{FACC27D3-03E2-482C-8A7C-514525D792D9}" destId="{65C9A464-E317-45F9-812D-4551E0131DBE}" srcOrd="1" destOrd="0" parTransId="{442FB0C3-8C8A-4219-B426-BCB93D3D0A76}" sibTransId="{03BB8E63-6E88-4E32-B79A-2DBC55E6EE18}"/>
    <dgm:cxn modelId="{6A272FBF-5A9A-48BB-9538-0FF6C99BA4F8}" srcId="{AB599D6A-2281-44CA-8509-555AAB1BF18D}" destId="{CA1C76EC-70A5-44A7-8735-465A638BBBE0}" srcOrd="3" destOrd="0" parTransId="{0C35A7DB-76E3-43F6-8270-F6FE0773F498}" sibTransId="{DFC3EC1B-B94B-41DE-A091-756879E84FB9}"/>
    <dgm:cxn modelId="{3CB370CC-FE90-4760-A8CD-C0EAC9E4382D}" type="presOf" srcId="{A7CEC0D3-E60A-42C7-85B3-F23A5AFD5BDD}" destId="{D115008D-D7CB-4647-802F-BD4521421C14}" srcOrd="0" destOrd="0" presId="urn:microsoft.com/office/officeart/2005/8/layout/hierarchy4"/>
    <dgm:cxn modelId="{F99D91D6-FCA1-4E1A-B0F6-2141068AB42E}" type="presOf" srcId="{1F10BA1E-6AF9-43C6-B282-7693ADD716F2}" destId="{EF41AA96-9146-4D8D-BEC7-DF18E6370906}" srcOrd="0" destOrd="0" presId="urn:microsoft.com/office/officeart/2005/8/layout/hierarchy4"/>
    <dgm:cxn modelId="{6C43B0D9-FFD5-439C-B671-5B0B996DEC12}" srcId="{AB599D6A-2281-44CA-8509-555AAB1BF18D}" destId="{A7CEC0D3-E60A-42C7-85B3-F23A5AFD5BDD}" srcOrd="4" destOrd="0" parTransId="{3946D1BF-4713-4FB3-810C-A5A715020166}" sibTransId="{C085C617-522E-4EA2-9CC9-FA71B6ED6701}"/>
    <dgm:cxn modelId="{3EF180DB-93D9-4E42-A4F7-14974720CF89}" type="presOf" srcId="{3E8CAFCC-5ED8-4056-8E52-D80DF983F100}" destId="{66B5866B-EAEF-4714-BA6B-02BAE8A238A2}" srcOrd="0" destOrd="0" presId="urn:microsoft.com/office/officeart/2005/8/layout/hierarchy4"/>
    <dgm:cxn modelId="{81888DE1-7A6B-439C-B692-30FB9BFA0372}" srcId="{0B86E9D8-2989-46CD-8A31-2FFC3245D579}" destId="{4E10654A-7A45-4F1E-A091-2FB0F9BE9DD5}" srcOrd="0" destOrd="0" parTransId="{8C6F163A-9F7E-4AF4-926C-7BDF79409013}" sibTransId="{7B6F5010-4B83-48C6-8079-6F2752A077E6}"/>
    <dgm:cxn modelId="{C558D6EA-6BF8-4E64-9F40-323E98031129}" srcId="{FEFBB3A0-4F8C-4B14-9398-F60667512088}" destId="{28C2C7F4-3433-483C-86C6-9AC3A7F7A6A6}" srcOrd="1" destOrd="0" parTransId="{9B4075C6-EBD2-43CB-A456-4DFC4951707A}" sibTransId="{FBA787CC-0A01-49A8-8AF8-27DB8AD09FEB}"/>
    <dgm:cxn modelId="{767ADFEB-47F3-4F8B-81CF-64807C675ED8}" srcId="{F4B8CA77-E962-43A9-9043-6F80915B71EE}" destId="{56F0B837-77CC-4250-B160-D8D1908D7ACD}" srcOrd="0" destOrd="0" parTransId="{C86D0681-BD9B-40F4-820F-0E2CAEA2B27D}" sibTransId="{C36C4AD8-FE9E-4A96-83A6-425E4CBCF515}"/>
    <dgm:cxn modelId="{3E0812EC-6B76-4844-A0FB-390F0668609C}" srcId="{ED049977-39E3-4F77-AF7B-EFF48333ECB6}" destId="{115227F1-C0BF-42AE-AECA-E4073789DC17}" srcOrd="0" destOrd="0" parTransId="{8588466C-BE0B-4359-975D-E6C70B8F1154}" sibTransId="{50F60ECA-096B-4062-BF9C-6698222A0760}"/>
    <dgm:cxn modelId="{740B6AF0-F04E-4BBE-A6E2-7E9A818D2632}" srcId="{AEC552C1-9460-4A6B-A350-8626E9EE93F8}" destId="{9F56B52D-65D7-47B2-A592-EE63B679DDBA}" srcOrd="0" destOrd="0" parTransId="{D9F85809-F182-4C6A-BAE6-D688181BE87E}" sibTransId="{A9D9E27C-02AB-4096-BC41-D632A02E066C}"/>
    <dgm:cxn modelId="{E34FF1F6-5B6D-4813-BCB3-43E573516603}" srcId="{CA1C76EC-70A5-44A7-8735-465A638BBBE0}" destId="{14A3DC44-6327-4D6D-B40D-9A83AACBDA65}" srcOrd="0" destOrd="0" parTransId="{D0243536-DA9C-4FCE-9DF1-B7FDAE29E505}" sibTransId="{F0A3852C-654B-427C-93BC-9A004490D13E}"/>
    <dgm:cxn modelId="{5C8326F9-82DC-474F-A63D-923F2BCF775C}" type="presOf" srcId="{A432EB43-B886-426B-B433-4F6F0BDA01F8}" destId="{0E6A2259-CCE2-4F72-BC94-F90ED870164F}" srcOrd="0" destOrd="0" presId="urn:microsoft.com/office/officeart/2005/8/layout/hierarchy4"/>
    <dgm:cxn modelId="{15419AFB-FC60-48FF-A791-5B4A4C3EFA25}" srcId="{56F0B837-77CC-4250-B160-D8D1908D7ACD}" destId="{2A42B98D-1BCB-489B-A10D-CCB8FFF8E78D}" srcOrd="0" destOrd="0" parTransId="{C873EB16-D6FA-4B6D-9AFC-03C5BBC156D2}" sibTransId="{460C11CF-2D04-4450-92FE-DDDFE2D4A28C}"/>
    <dgm:cxn modelId="{708BB534-66E7-4670-9973-1A47A94C84E4}" type="presParOf" srcId="{C1E83283-3450-4F62-B0D5-17E107757E59}" destId="{3991DDB2-EA5E-4FC7-BEEF-275EA4B3A883}" srcOrd="0" destOrd="0" presId="urn:microsoft.com/office/officeart/2005/8/layout/hierarchy4"/>
    <dgm:cxn modelId="{6BB20862-8EF4-4BF4-8D17-03825578D3F9}" type="presParOf" srcId="{3991DDB2-EA5E-4FC7-BEEF-275EA4B3A883}" destId="{29908D46-0580-410D-BF82-DBA3019C1C96}" srcOrd="0" destOrd="0" presId="urn:microsoft.com/office/officeart/2005/8/layout/hierarchy4"/>
    <dgm:cxn modelId="{38E661D9-7B59-4DA7-8670-A82F9AA48F6A}" type="presParOf" srcId="{3991DDB2-EA5E-4FC7-BEEF-275EA4B3A883}" destId="{52061928-60D4-455C-AFAD-6C1481B979F1}" srcOrd="1" destOrd="0" presId="urn:microsoft.com/office/officeart/2005/8/layout/hierarchy4"/>
    <dgm:cxn modelId="{D30D291E-9CE8-4F00-9D09-63B564527F33}" type="presParOf" srcId="{3991DDB2-EA5E-4FC7-BEEF-275EA4B3A883}" destId="{3BEF1709-F8E1-4B0C-B892-FB2E2CA025F5}" srcOrd="2" destOrd="0" presId="urn:microsoft.com/office/officeart/2005/8/layout/hierarchy4"/>
    <dgm:cxn modelId="{AFB998F5-5C5D-459C-BAAE-74B6B514FD29}" type="presParOf" srcId="{3BEF1709-F8E1-4B0C-B892-FB2E2CA025F5}" destId="{C0A0C4B9-BA0D-41A5-B6C8-EE45E8AB8D13}" srcOrd="0" destOrd="0" presId="urn:microsoft.com/office/officeart/2005/8/layout/hierarchy4"/>
    <dgm:cxn modelId="{E4C38448-D6EA-4321-A0F2-3FE65FFED6B0}" type="presParOf" srcId="{C0A0C4B9-BA0D-41A5-B6C8-EE45E8AB8D13}" destId="{D2255599-8653-42D5-B4CD-A8F5683094AB}" srcOrd="0" destOrd="0" presId="urn:microsoft.com/office/officeart/2005/8/layout/hierarchy4"/>
    <dgm:cxn modelId="{D41A4374-38CF-4300-91B7-107D7B81D8F6}" type="presParOf" srcId="{C0A0C4B9-BA0D-41A5-B6C8-EE45E8AB8D13}" destId="{0D98FD32-373E-4286-838F-A0689241BE34}" srcOrd="1" destOrd="0" presId="urn:microsoft.com/office/officeart/2005/8/layout/hierarchy4"/>
    <dgm:cxn modelId="{77114404-F9CE-4CCD-B59A-E7D9442D3228}" type="presParOf" srcId="{C0A0C4B9-BA0D-41A5-B6C8-EE45E8AB8D13}" destId="{0795F988-5D2F-4BB1-8C1B-308A2A7F1165}" srcOrd="2" destOrd="0" presId="urn:microsoft.com/office/officeart/2005/8/layout/hierarchy4"/>
    <dgm:cxn modelId="{25064AF6-2C92-47C3-B42F-516B73FA2D4E}" type="presParOf" srcId="{0795F988-5D2F-4BB1-8C1B-308A2A7F1165}" destId="{08024C66-48CF-41B3-B745-D0003360E3E9}" srcOrd="0" destOrd="0" presId="urn:microsoft.com/office/officeart/2005/8/layout/hierarchy4"/>
    <dgm:cxn modelId="{4F13B1C3-46F8-4FF9-B731-74C567228033}" type="presParOf" srcId="{08024C66-48CF-41B3-B745-D0003360E3E9}" destId="{E1CBC346-62EA-420C-ACCF-41A23150E402}" srcOrd="0" destOrd="0" presId="urn:microsoft.com/office/officeart/2005/8/layout/hierarchy4"/>
    <dgm:cxn modelId="{D7B975BA-6F1D-46AC-B1DE-DCAB00786111}" type="presParOf" srcId="{08024C66-48CF-41B3-B745-D0003360E3E9}" destId="{61BEADD6-FAA4-4222-B935-5759B2A6122A}" srcOrd="1" destOrd="0" presId="urn:microsoft.com/office/officeart/2005/8/layout/hierarchy4"/>
    <dgm:cxn modelId="{0F125E1F-F316-47A6-9055-5D525ED88B06}" type="presParOf" srcId="{08024C66-48CF-41B3-B745-D0003360E3E9}" destId="{2D38CAF2-A5CE-4382-9CF5-39042702DB4D}" srcOrd="2" destOrd="0" presId="urn:microsoft.com/office/officeart/2005/8/layout/hierarchy4"/>
    <dgm:cxn modelId="{E69229DB-68EF-41E0-A799-29B757C23899}" type="presParOf" srcId="{2D38CAF2-A5CE-4382-9CF5-39042702DB4D}" destId="{8E286861-3956-4A12-9CEC-954DC87CC75B}" srcOrd="0" destOrd="0" presId="urn:microsoft.com/office/officeart/2005/8/layout/hierarchy4"/>
    <dgm:cxn modelId="{DC46F0F6-2DB7-4483-B88A-FA599BAF579B}" type="presParOf" srcId="{8E286861-3956-4A12-9CEC-954DC87CC75B}" destId="{5F68167F-933F-4172-A4D7-6F6CE325B3D1}" srcOrd="0" destOrd="0" presId="urn:microsoft.com/office/officeart/2005/8/layout/hierarchy4"/>
    <dgm:cxn modelId="{24470AF6-229B-49C6-97AF-B4B6E3851BC8}" type="presParOf" srcId="{8E286861-3956-4A12-9CEC-954DC87CC75B}" destId="{2D9D185E-03AC-4C52-9C8D-643FAE771F99}" srcOrd="1" destOrd="0" presId="urn:microsoft.com/office/officeart/2005/8/layout/hierarchy4"/>
    <dgm:cxn modelId="{88521CC4-535C-4FE1-85B1-2C02FCB50051}" type="presParOf" srcId="{8E286861-3956-4A12-9CEC-954DC87CC75B}" destId="{9088960E-FEA5-4EA1-AB88-D406EAB2097D}" srcOrd="2" destOrd="0" presId="urn:microsoft.com/office/officeart/2005/8/layout/hierarchy4"/>
    <dgm:cxn modelId="{5978682C-17D8-432A-B005-6425266582FD}" type="presParOf" srcId="{9088960E-FEA5-4EA1-AB88-D406EAB2097D}" destId="{4F41FE29-2CE7-4A1C-B34D-1312CE625F26}" srcOrd="0" destOrd="0" presId="urn:microsoft.com/office/officeart/2005/8/layout/hierarchy4"/>
    <dgm:cxn modelId="{43A5C30A-5D08-469C-9A17-B3BBF9D1C27F}" type="presParOf" srcId="{4F41FE29-2CE7-4A1C-B34D-1312CE625F26}" destId="{5551053A-5DB3-4192-8AC4-90940E0FBC18}" srcOrd="0" destOrd="0" presId="urn:microsoft.com/office/officeart/2005/8/layout/hierarchy4"/>
    <dgm:cxn modelId="{9379ED94-39E8-42FC-8B58-694B91540801}" type="presParOf" srcId="{4F41FE29-2CE7-4A1C-B34D-1312CE625F26}" destId="{5EA5E82C-9D11-46B9-BCA3-2FB839039B1E}" srcOrd="1" destOrd="0" presId="urn:microsoft.com/office/officeart/2005/8/layout/hierarchy4"/>
    <dgm:cxn modelId="{98039045-388A-4F2B-882F-7231AB689BEC}" type="presParOf" srcId="{0795F988-5D2F-4BB1-8C1B-308A2A7F1165}" destId="{8DE9E9C6-1CAA-488B-81C4-60A1FAF09B53}" srcOrd="1" destOrd="0" presId="urn:microsoft.com/office/officeart/2005/8/layout/hierarchy4"/>
    <dgm:cxn modelId="{4F852A9F-0BA5-4C3C-A458-6F8DECE118F8}" type="presParOf" srcId="{0795F988-5D2F-4BB1-8C1B-308A2A7F1165}" destId="{BD4B156C-6BF0-4773-8006-3E9619597855}" srcOrd="2" destOrd="0" presId="urn:microsoft.com/office/officeart/2005/8/layout/hierarchy4"/>
    <dgm:cxn modelId="{04845B3A-F9C9-4CEB-A152-EBBBB070B9B9}" type="presParOf" srcId="{BD4B156C-6BF0-4773-8006-3E9619597855}" destId="{A49620BC-2220-4885-A334-E204AF06D23F}" srcOrd="0" destOrd="0" presId="urn:microsoft.com/office/officeart/2005/8/layout/hierarchy4"/>
    <dgm:cxn modelId="{382E6013-39C2-46A1-B1EA-E86DE018A86B}" type="presParOf" srcId="{BD4B156C-6BF0-4773-8006-3E9619597855}" destId="{13621A46-39A8-4BB0-83CA-043AA2F6150D}" srcOrd="1" destOrd="0" presId="urn:microsoft.com/office/officeart/2005/8/layout/hierarchy4"/>
    <dgm:cxn modelId="{1D559930-6C87-4112-A671-2767E9294800}" type="presParOf" srcId="{BD4B156C-6BF0-4773-8006-3E9619597855}" destId="{B007B664-106F-4C03-BD5F-10F74A978B13}" srcOrd="2" destOrd="0" presId="urn:microsoft.com/office/officeart/2005/8/layout/hierarchy4"/>
    <dgm:cxn modelId="{7B682B03-77A2-4EA8-BDC8-50ED993DFD9B}" type="presParOf" srcId="{B007B664-106F-4C03-BD5F-10F74A978B13}" destId="{C1AF2F1E-034B-4B98-8771-B0B564C6B793}" srcOrd="0" destOrd="0" presId="urn:microsoft.com/office/officeart/2005/8/layout/hierarchy4"/>
    <dgm:cxn modelId="{D98A227C-8B73-4DD2-885F-2A911CCFDCC3}" type="presParOf" srcId="{C1AF2F1E-034B-4B98-8771-B0B564C6B793}" destId="{C6A5189C-4A84-41E7-BCB3-462D1FC24D12}" srcOrd="0" destOrd="0" presId="urn:microsoft.com/office/officeart/2005/8/layout/hierarchy4"/>
    <dgm:cxn modelId="{C46FA07D-EC43-4F2F-8059-AC3A9E1B1846}" type="presParOf" srcId="{C1AF2F1E-034B-4B98-8771-B0B564C6B793}" destId="{1FBBFEC6-AE72-4F23-BCE4-8B4A0A3CEB71}" srcOrd="1" destOrd="0" presId="urn:microsoft.com/office/officeart/2005/8/layout/hierarchy4"/>
    <dgm:cxn modelId="{8CB18689-7FC2-42A5-9927-75E63DB6E3F8}" type="presParOf" srcId="{C1AF2F1E-034B-4B98-8771-B0B564C6B793}" destId="{109C4E50-8FD2-49B1-A664-7048627D2486}" srcOrd="2" destOrd="0" presId="urn:microsoft.com/office/officeart/2005/8/layout/hierarchy4"/>
    <dgm:cxn modelId="{DFB577D9-C9C6-4AB7-BFEB-E16BCB07DCD1}" type="presParOf" srcId="{109C4E50-8FD2-49B1-A664-7048627D2486}" destId="{1AA48CD3-F78E-40A0-8A7C-E86B9220507D}" srcOrd="0" destOrd="0" presId="urn:microsoft.com/office/officeart/2005/8/layout/hierarchy4"/>
    <dgm:cxn modelId="{41B017A0-6637-4B49-9603-939C03F0763C}" type="presParOf" srcId="{1AA48CD3-F78E-40A0-8A7C-E86B9220507D}" destId="{CD91BE6D-6FF9-4C3F-907A-416A62ADE6E2}" srcOrd="0" destOrd="0" presId="urn:microsoft.com/office/officeart/2005/8/layout/hierarchy4"/>
    <dgm:cxn modelId="{995F8AD5-BBDA-4757-B8FB-7324A5B68799}" type="presParOf" srcId="{1AA48CD3-F78E-40A0-8A7C-E86B9220507D}" destId="{7927FC43-0DCD-4164-9FAA-03E43B17CE8D}" srcOrd="1" destOrd="0" presId="urn:microsoft.com/office/officeart/2005/8/layout/hierarchy4"/>
    <dgm:cxn modelId="{2354E0DA-F8B8-4861-BF34-255477710616}" type="presParOf" srcId="{3BEF1709-F8E1-4B0C-B892-FB2E2CA025F5}" destId="{0CEADF97-F613-44F9-ABE9-08A1A262D64B}" srcOrd="1" destOrd="0" presId="urn:microsoft.com/office/officeart/2005/8/layout/hierarchy4"/>
    <dgm:cxn modelId="{74C863A1-D12B-4187-9AD5-9775B743FC93}" type="presParOf" srcId="{3BEF1709-F8E1-4B0C-B892-FB2E2CA025F5}" destId="{C27F43BA-5270-40E4-A977-AF43C39826E3}" srcOrd="2" destOrd="0" presId="urn:microsoft.com/office/officeart/2005/8/layout/hierarchy4"/>
    <dgm:cxn modelId="{29127FC5-8EDC-481A-B3F2-4ECCBD994F2E}" type="presParOf" srcId="{C27F43BA-5270-40E4-A977-AF43C39826E3}" destId="{BAC4AE3E-D08F-4727-B9A3-CC4CBF71E578}" srcOrd="0" destOrd="0" presId="urn:microsoft.com/office/officeart/2005/8/layout/hierarchy4"/>
    <dgm:cxn modelId="{134806CE-1928-4B88-A8B1-69EBCE3059CC}" type="presParOf" srcId="{C27F43BA-5270-40E4-A977-AF43C39826E3}" destId="{EE7F98FB-E3B2-4328-BB4D-F497FCBE6E31}" srcOrd="1" destOrd="0" presId="urn:microsoft.com/office/officeart/2005/8/layout/hierarchy4"/>
    <dgm:cxn modelId="{F0640B53-D56D-4AE7-8D2C-06604347BF30}" type="presParOf" srcId="{C27F43BA-5270-40E4-A977-AF43C39826E3}" destId="{5DB66F55-8D8F-4178-B16B-164625883716}" srcOrd="2" destOrd="0" presId="urn:microsoft.com/office/officeart/2005/8/layout/hierarchy4"/>
    <dgm:cxn modelId="{DCABB75E-99AF-464F-912C-BB74DFE846DF}" type="presParOf" srcId="{5DB66F55-8D8F-4178-B16B-164625883716}" destId="{EFADA1CE-C998-4200-A0ED-A8294265195A}" srcOrd="0" destOrd="0" presId="urn:microsoft.com/office/officeart/2005/8/layout/hierarchy4"/>
    <dgm:cxn modelId="{A74B3F14-C658-41B1-B6C1-B5A9727088C0}" type="presParOf" srcId="{EFADA1CE-C998-4200-A0ED-A8294265195A}" destId="{F84C305B-830A-4B17-983C-73795E31F6DD}" srcOrd="0" destOrd="0" presId="urn:microsoft.com/office/officeart/2005/8/layout/hierarchy4"/>
    <dgm:cxn modelId="{C0201542-EB32-4112-899B-7F28A9020D09}" type="presParOf" srcId="{EFADA1CE-C998-4200-A0ED-A8294265195A}" destId="{8BC8DCAE-C8F2-4C43-90E2-B959ADF837B6}" srcOrd="1" destOrd="0" presId="urn:microsoft.com/office/officeart/2005/8/layout/hierarchy4"/>
    <dgm:cxn modelId="{318DAE36-5AAA-40D7-A50A-0743DF726493}" type="presParOf" srcId="{EFADA1CE-C998-4200-A0ED-A8294265195A}" destId="{B4C8ABFB-C789-47E5-8C13-B32D49D32AFB}" srcOrd="2" destOrd="0" presId="urn:microsoft.com/office/officeart/2005/8/layout/hierarchy4"/>
    <dgm:cxn modelId="{BFFC63ED-0072-41B0-B2EC-A4188B3C9782}" type="presParOf" srcId="{B4C8ABFB-C789-47E5-8C13-B32D49D32AFB}" destId="{CC5DD440-6EB7-438D-B3FC-9F553E055B85}" srcOrd="0" destOrd="0" presId="urn:microsoft.com/office/officeart/2005/8/layout/hierarchy4"/>
    <dgm:cxn modelId="{493646C3-AD82-4E6F-8C0A-A03CB81C2448}" type="presParOf" srcId="{CC5DD440-6EB7-438D-B3FC-9F553E055B85}" destId="{66B5866B-EAEF-4714-BA6B-02BAE8A238A2}" srcOrd="0" destOrd="0" presId="urn:microsoft.com/office/officeart/2005/8/layout/hierarchy4"/>
    <dgm:cxn modelId="{757BF25B-3274-4796-A005-C41D0DE7742E}" type="presParOf" srcId="{CC5DD440-6EB7-438D-B3FC-9F553E055B85}" destId="{C401D1A0-E9A9-4324-9264-F2F81A7E8977}" srcOrd="1" destOrd="0" presId="urn:microsoft.com/office/officeart/2005/8/layout/hierarchy4"/>
    <dgm:cxn modelId="{CB94B0BB-C289-4F6A-BFB6-F43FD4EFFC43}" type="presParOf" srcId="{CC5DD440-6EB7-438D-B3FC-9F553E055B85}" destId="{0FBF2B3D-FD0D-4275-8AE4-4B8653EB6C6D}" srcOrd="2" destOrd="0" presId="urn:microsoft.com/office/officeart/2005/8/layout/hierarchy4"/>
    <dgm:cxn modelId="{BE0E7892-AD04-4E7C-9D0B-9DAAEF03C772}" type="presParOf" srcId="{0FBF2B3D-FD0D-4275-8AE4-4B8653EB6C6D}" destId="{95CCFEEF-D31A-45B1-8DDA-3CBDF8107FE3}" srcOrd="0" destOrd="0" presId="urn:microsoft.com/office/officeart/2005/8/layout/hierarchy4"/>
    <dgm:cxn modelId="{9016E7F2-3205-4EDA-A841-99CB28739E02}" type="presParOf" srcId="{95CCFEEF-D31A-45B1-8DDA-3CBDF8107FE3}" destId="{6E1734B3-637B-4774-9150-609D38A59EFF}" srcOrd="0" destOrd="0" presId="urn:microsoft.com/office/officeart/2005/8/layout/hierarchy4"/>
    <dgm:cxn modelId="{1F9E8B35-37B6-4920-B28B-345CB887077C}" type="presParOf" srcId="{95CCFEEF-D31A-45B1-8DDA-3CBDF8107FE3}" destId="{BC5D323A-00C0-4369-97D3-4E16D00CDD45}" srcOrd="1" destOrd="0" presId="urn:microsoft.com/office/officeart/2005/8/layout/hierarchy4"/>
    <dgm:cxn modelId="{674DBFA4-8923-43D7-BECE-E8D0659CDA0E}" type="presParOf" srcId="{5DB66F55-8D8F-4178-B16B-164625883716}" destId="{CA337138-6375-4804-96F3-C513FE8C96B3}" srcOrd="1" destOrd="0" presId="urn:microsoft.com/office/officeart/2005/8/layout/hierarchy4"/>
    <dgm:cxn modelId="{181F9BDD-1EB5-4FC8-8A89-4B2DB20AA820}" type="presParOf" srcId="{5DB66F55-8D8F-4178-B16B-164625883716}" destId="{759B1CEB-C540-44EF-A4BB-481FFED19A00}" srcOrd="2" destOrd="0" presId="urn:microsoft.com/office/officeart/2005/8/layout/hierarchy4"/>
    <dgm:cxn modelId="{A72986D6-1CED-4717-B9A0-4170BD481398}" type="presParOf" srcId="{759B1CEB-C540-44EF-A4BB-481FFED19A00}" destId="{332BF639-B21F-4F7E-AED3-AAA5096ECA29}" srcOrd="0" destOrd="0" presId="urn:microsoft.com/office/officeart/2005/8/layout/hierarchy4"/>
    <dgm:cxn modelId="{DEB00F7D-A917-4C0F-8F0C-1A3150AECCE6}" type="presParOf" srcId="{759B1CEB-C540-44EF-A4BB-481FFED19A00}" destId="{03070E68-4E01-482A-B6CD-EF37D4E8141B}" srcOrd="1" destOrd="0" presId="urn:microsoft.com/office/officeart/2005/8/layout/hierarchy4"/>
    <dgm:cxn modelId="{B4F85022-81CA-480E-8AB2-C67B94DEEDE5}" type="presParOf" srcId="{759B1CEB-C540-44EF-A4BB-481FFED19A00}" destId="{7FACD0C9-6DE2-4990-9255-903514948CA0}" srcOrd="2" destOrd="0" presId="urn:microsoft.com/office/officeart/2005/8/layout/hierarchy4"/>
    <dgm:cxn modelId="{55A67BF3-0ACB-455E-A65B-67E67637CA75}" type="presParOf" srcId="{7FACD0C9-6DE2-4990-9255-903514948CA0}" destId="{3A5EDD8C-ED98-4F8C-A21E-BAE80708660F}" srcOrd="0" destOrd="0" presId="urn:microsoft.com/office/officeart/2005/8/layout/hierarchy4"/>
    <dgm:cxn modelId="{674023DC-A245-4BB0-A8F1-F17C9EA37AA2}" type="presParOf" srcId="{3A5EDD8C-ED98-4F8C-A21E-BAE80708660F}" destId="{199D9393-D571-4D11-93CA-0D1F9E35E890}" srcOrd="0" destOrd="0" presId="urn:microsoft.com/office/officeart/2005/8/layout/hierarchy4"/>
    <dgm:cxn modelId="{86BABEBE-364A-4B03-A1E6-B39ECCFFE240}" type="presParOf" srcId="{3A5EDD8C-ED98-4F8C-A21E-BAE80708660F}" destId="{DE842033-C95C-4894-9EE1-D387EAEF35D7}" srcOrd="1" destOrd="0" presId="urn:microsoft.com/office/officeart/2005/8/layout/hierarchy4"/>
    <dgm:cxn modelId="{EC818D81-5395-4B9A-A6F1-A1426713CC68}" type="presParOf" srcId="{3A5EDD8C-ED98-4F8C-A21E-BAE80708660F}" destId="{F1938DB0-8C1F-46F3-937E-77F720338D7D}" srcOrd="2" destOrd="0" presId="urn:microsoft.com/office/officeart/2005/8/layout/hierarchy4"/>
    <dgm:cxn modelId="{55677500-540B-4331-84DB-E3F938469856}" type="presParOf" srcId="{F1938DB0-8C1F-46F3-937E-77F720338D7D}" destId="{F8C76488-6FF7-419A-A420-A09D12452380}" srcOrd="0" destOrd="0" presId="urn:microsoft.com/office/officeart/2005/8/layout/hierarchy4"/>
    <dgm:cxn modelId="{A76EDB92-F1DF-4FFD-B515-3FEA0AE49EC9}" type="presParOf" srcId="{F8C76488-6FF7-419A-A420-A09D12452380}" destId="{D77ABBDD-D4F3-4868-9BF6-2EAD03AFC503}" srcOrd="0" destOrd="0" presId="urn:microsoft.com/office/officeart/2005/8/layout/hierarchy4"/>
    <dgm:cxn modelId="{3FC7DC08-99D7-4989-BD1E-9B2C0320CD94}" type="presParOf" srcId="{F8C76488-6FF7-419A-A420-A09D12452380}" destId="{29AA3B20-514B-45D6-A81E-ADC62C48F01A}" srcOrd="1" destOrd="0" presId="urn:microsoft.com/office/officeart/2005/8/layout/hierarchy4"/>
    <dgm:cxn modelId="{1B44D09E-F0E0-4A18-B42B-726225B2C823}" type="presParOf" srcId="{5DB66F55-8D8F-4178-B16B-164625883716}" destId="{051DFCF9-48D1-42A9-9110-A59A9A410BF5}" srcOrd="3" destOrd="0" presId="urn:microsoft.com/office/officeart/2005/8/layout/hierarchy4"/>
    <dgm:cxn modelId="{9562E738-8FE9-4BEE-9235-7EC29644A3D8}" type="presParOf" srcId="{5DB66F55-8D8F-4178-B16B-164625883716}" destId="{00AE45EC-8C60-4AAF-AD6A-7C075592CFCF}" srcOrd="4" destOrd="0" presId="urn:microsoft.com/office/officeart/2005/8/layout/hierarchy4"/>
    <dgm:cxn modelId="{DB88F43E-B4A1-4FCD-A53B-B9E2C19F8A79}" type="presParOf" srcId="{00AE45EC-8C60-4AAF-AD6A-7C075592CFCF}" destId="{5FEBF4B0-5352-4CF4-BA94-B97ECABD31DF}" srcOrd="0" destOrd="0" presId="urn:microsoft.com/office/officeart/2005/8/layout/hierarchy4"/>
    <dgm:cxn modelId="{DAF5BAF5-8046-4EDF-8509-678F87A91CC1}" type="presParOf" srcId="{00AE45EC-8C60-4AAF-AD6A-7C075592CFCF}" destId="{CEAE44F4-E3CC-4B18-A83B-DAE5F54FC4A4}" srcOrd="1" destOrd="0" presId="urn:microsoft.com/office/officeart/2005/8/layout/hierarchy4"/>
    <dgm:cxn modelId="{2D062FA0-6DB7-442C-BD87-1C427D0BE9A2}" type="presParOf" srcId="{00AE45EC-8C60-4AAF-AD6A-7C075592CFCF}" destId="{0804BA65-C960-4961-90BF-66782BE91103}" srcOrd="2" destOrd="0" presId="urn:microsoft.com/office/officeart/2005/8/layout/hierarchy4"/>
    <dgm:cxn modelId="{0D03E814-67AC-4CB3-A140-5CF50ED6823A}" type="presParOf" srcId="{0804BA65-C960-4961-90BF-66782BE91103}" destId="{EF63C948-5926-488B-B63F-397C2138B55A}" srcOrd="0" destOrd="0" presId="urn:microsoft.com/office/officeart/2005/8/layout/hierarchy4"/>
    <dgm:cxn modelId="{12D1A4B5-3C3B-4A7B-981B-4FFE323F919E}" type="presParOf" srcId="{EF63C948-5926-488B-B63F-397C2138B55A}" destId="{F27E07BE-8E9C-431A-A43B-42D6237C2CC2}" srcOrd="0" destOrd="0" presId="urn:microsoft.com/office/officeart/2005/8/layout/hierarchy4"/>
    <dgm:cxn modelId="{3BEFAE19-6E76-49E7-A1D6-988C56E92331}" type="presParOf" srcId="{EF63C948-5926-488B-B63F-397C2138B55A}" destId="{67A212E4-7325-4D1A-84AA-843E6BECF1B4}" srcOrd="1" destOrd="0" presId="urn:microsoft.com/office/officeart/2005/8/layout/hierarchy4"/>
    <dgm:cxn modelId="{FECAFFA0-3CEB-4A1C-A17A-6BBE2760A9FF}" type="presParOf" srcId="{EF63C948-5926-488B-B63F-397C2138B55A}" destId="{3E290BD0-B38B-4799-B4DC-3162BF1F71EB}" srcOrd="2" destOrd="0" presId="urn:microsoft.com/office/officeart/2005/8/layout/hierarchy4"/>
    <dgm:cxn modelId="{39573DB6-488E-40D4-9768-9E1665699A55}" type="presParOf" srcId="{3E290BD0-B38B-4799-B4DC-3162BF1F71EB}" destId="{1F58C828-8987-4CFF-A4B0-695D67EDCA7E}" srcOrd="0" destOrd="0" presId="urn:microsoft.com/office/officeart/2005/8/layout/hierarchy4"/>
    <dgm:cxn modelId="{5B6013D4-75E2-47D5-99E1-8CF0A8DBD5F5}" type="presParOf" srcId="{1F58C828-8987-4CFF-A4B0-695D67EDCA7E}" destId="{B03FD510-0FFB-4099-AA24-125136653E34}" srcOrd="0" destOrd="0" presId="urn:microsoft.com/office/officeart/2005/8/layout/hierarchy4"/>
    <dgm:cxn modelId="{8BCFC482-A518-4F17-966B-C45C4BF8FA11}" type="presParOf" srcId="{1F58C828-8987-4CFF-A4B0-695D67EDCA7E}" destId="{1F12E7AC-827F-414D-A136-669DB18FCCB9}" srcOrd="1" destOrd="0" presId="urn:microsoft.com/office/officeart/2005/8/layout/hierarchy4"/>
    <dgm:cxn modelId="{E4B03D38-E72B-4DC1-9995-B8F8E6A94CA4}" type="presParOf" srcId="{5DB66F55-8D8F-4178-B16B-164625883716}" destId="{2A3983F0-0B20-48E8-BF4A-E9FD2A66D694}" srcOrd="5" destOrd="0" presId="urn:microsoft.com/office/officeart/2005/8/layout/hierarchy4"/>
    <dgm:cxn modelId="{7C170EB4-EC8D-4B03-BE4F-143092C7BB1D}" type="presParOf" srcId="{5DB66F55-8D8F-4178-B16B-164625883716}" destId="{C254633F-E68A-4360-85AF-CB6CE6E89789}" srcOrd="6" destOrd="0" presId="urn:microsoft.com/office/officeart/2005/8/layout/hierarchy4"/>
    <dgm:cxn modelId="{A6E801D3-2A38-4F52-A22E-097A4EA7BFE6}" type="presParOf" srcId="{C254633F-E68A-4360-85AF-CB6CE6E89789}" destId="{1606090A-CBF6-4560-9564-C8F771C24059}" srcOrd="0" destOrd="0" presId="urn:microsoft.com/office/officeart/2005/8/layout/hierarchy4"/>
    <dgm:cxn modelId="{1C74592F-D9FD-4C30-8E84-97D68A56C6E6}" type="presParOf" srcId="{C254633F-E68A-4360-85AF-CB6CE6E89789}" destId="{C375F705-0F2F-46BE-82B8-1230F9C77C55}" srcOrd="1" destOrd="0" presId="urn:microsoft.com/office/officeart/2005/8/layout/hierarchy4"/>
    <dgm:cxn modelId="{E99A66F7-F552-4383-9C76-39393065286A}" type="presParOf" srcId="{C254633F-E68A-4360-85AF-CB6CE6E89789}" destId="{E72CDF4B-8116-4EF8-AB1D-F8225E9343AD}" srcOrd="2" destOrd="0" presId="urn:microsoft.com/office/officeart/2005/8/layout/hierarchy4"/>
    <dgm:cxn modelId="{57EB505B-09E2-43C9-87C6-87A42B209638}" type="presParOf" srcId="{E72CDF4B-8116-4EF8-AB1D-F8225E9343AD}" destId="{391592CA-952C-4408-86EC-B4BD65E08E92}" srcOrd="0" destOrd="0" presId="urn:microsoft.com/office/officeart/2005/8/layout/hierarchy4"/>
    <dgm:cxn modelId="{C9B399B5-D85E-4CA3-8946-8BD4CD8A0AE2}" type="presParOf" srcId="{391592CA-952C-4408-86EC-B4BD65E08E92}" destId="{860D0C41-7D91-40FF-9359-5816749CC2C3}" srcOrd="0" destOrd="0" presId="urn:microsoft.com/office/officeart/2005/8/layout/hierarchy4"/>
    <dgm:cxn modelId="{74616DB4-1B34-4C05-8199-566ABD314563}" type="presParOf" srcId="{391592CA-952C-4408-86EC-B4BD65E08E92}" destId="{C2A0AE61-B504-4E99-9CC2-65612876120F}" srcOrd="1" destOrd="0" presId="urn:microsoft.com/office/officeart/2005/8/layout/hierarchy4"/>
    <dgm:cxn modelId="{79D0730E-C68E-48D9-9107-F4ACD48DAB49}" type="presParOf" srcId="{391592CA-952C-4408-86EC-B4BD65E08E92}" destId="{A464CC22-ED58-49B7-AE3A-0929B6D15210}" srcOrd="2" destOrd="0" presId="urn:microsoft.com/office/officeart/2005/8/layout/hierarchy4"/>
    <dgm:cxn modelId="{8DDF1B1B-464F-48D0-8D03-4B0160F6EF6A}" type="presParOf" srcId="{A464CC22-ED58-49B7-AE3A-0929B6D15210}" destId="{FCCA09D5-3B10-4F6D-808D-398DC565DEEB}" srcOrd="0" destOrd="0" presId="urn:microsoft.com/office/officeart/2005/8/layout/hierarchy4"/>
    <dgm:cxn modelId="{924973B7-EE1D-4B2D-8888-3E7EA235B8BA}" type="presParOf" srcId="{FCCA09D5-3B10-4F6D-808D-398DC565DEEB}" destId="{0E6A2259-CCE2-4F72-BC94-F90ED870164F}" srcOrd="0" destOrd="0" presId="urn:microsoft.com/office/officeart/2005/8/layout/hierarchy4"/>
    <dgm:cxn modelId="{1E6BD4F5-645F-4DCA-9A51-1A418810A7DC}" type="presParOf" srcId="{FCCA09D5-3B10-4F6D-808D-398DC565DEEB}" destId="{B385F890-ABE1-4D31-97D6-618AEDF5FEFC}" srcOrd="1" destOrd="0" presId="urn:microsoft.com/office/officeart/2005/8/layout/hierarchy4"/>
    <dgm:cxn modelId="{2B639DCE-6E31-4A12-93D1-810C35BADCDE}" type="presParOf" srcId="{5DB66F55-8D8F-4178-B16B-164625883716}" destId="{884D2CDC-1CC1-4635-A496-4AEB747563FA}" srcOrd="7" destOrd="0" presId="urn:microsoft.com/office/officeart/2005/8/layout/hierarchy4"/>
    <dgm:cxn modelId="{0868775C-7077-470E-91BC-93F8673B130F}" type="presParOf" srcId="{5DB66F55-8D8F-4178-B16B-164625883716}" destId="{C1267F0C-1D11-4E52-B843-DA54CC2C567E}" srcOrd="8" destOrd="0" presId="urn:microsoft.com/office/officeart/2005/8/layout/hierarchy4"/>
    <dgm:cxn modelId="{50E0B05D-DF31-47DA-824F-A67EB3D21E42}" type="presParOf" srcId="{C1267F0C-1D11-4E52-B843-DA54CC2C567E}" destId="{D115008D-D7CB-4647-802F-BD4521421C14}" srcOrd="0" destOrd="0" presId="urn:microsoft.com/office/officeart/2005/8/layout/hierarchy4"/>
    <dgm:cxn modelId="{31E546E7-2440-4CDE-A5E8-AC6521AD7EE1}" type="presParOf" srcId="{C1267F0C-1D11-4E52-B843-DA54CC2C567E}" destId="{617AFA22-8482-429F-9E23-BFCA70320E05}" srcOrd="1" destOrd="0" presId="urn:microsoft.com/office/officeart/2005/8/layout/hierarchy4"/>
    <dgm:cxn modelId="{737D66EE-87F7-41AC-A86A-2A6D99AF90FF}" type="presParOf" srcId="{C1267F0C-1D11-4E52-B843-DA54CC2C567E}" destId="{26E3C3EF-5F04-47B1-834F-B58F201F0554}" srcOrd="2" destOrd="0" presId="urn:microsoft.com/office/officeart/2005/8/layout/hierarchy4"/>
    <dgm:cxn modelId="{230CAC83-B0C7-4275-A12E-26C205C331B6}" type="presParOf" srcId="{26E3C3EF-5F04-47B1-834F-B58F201F0554}" destId="{DCCDC11A-1E15-4479-9EB0-D06986C6D02B}" srcOrd="0" destOrd="0" presId="urn:microsoft.com/office/officeart/2005/8/layout/hierarchy4"/>
    <dgm:cxn modelId="{42A2C233-B77D-473A-A79C-693324E00426}" type="presParOf" srcId="{DCCDC11A-1E15-4479-9EB0-D06986C6D02B}" destId="{EF41AA96-9146-4D8D-BEC7-DF18E6370906}" srcOrd="0" destOrd="0" presId="urn:microsoft.com/office/officeart/2005/8/layout/hierarchy4"/>
    <dgm:cxn modelId="{E5545830-C6CF-48BA-A3FC-622ECF925742}" type="presParOf" srcId="{DCCDC11A-1E15-4479-9EB0-D06986C6D02B}" destId="{3EA5DD12-D90F-4A45-B26B-D17DCE62358C}" srcOrd="1" destOrd="0" presId="urn:microsoft.com/office/officeart/2005/8/layout/hierarchy4"/>
    <dgm:cxn modelId="{13035A90-4E9F-4542-B29C-046AAEFED7DD}" type="presParOf" srcId="{DCCDC11A-1E15-4479-9EB0-D06986C6D02B}" destId="{380A4938-78B8-423C-B84B-8EDCE9770251}" srcOrd="2" destOrd="0" presId="urn:microsoft.com/office/officeart/2005/8/layout/hierarchy4"/>
    <dgm:cxn modelId="{04984A2E-DC27-4D3A-90E1-73D2DB437CC7}" type="presParOf" srcId="{380A4938-78B8-423C-B84B-8EDCE9770251}" destId="{E90F88DA-5E61-424A-B732-5C68303019C3}" srcOrd="0" destOrd="0" presId="urn:microsoft.com/office/officeart/2005/8/layout/hierarchy4"/>
    <dgm:cxn modelId="{4230EFD9-92BF-4063-833A-2C35CDBF48BD}" type="presParOf" srcId="{E90F88DA-5E61-424A-B732-5C68303019C3}" destId="{44BD1967-3E34-4716-8289-46054D7A91BC}" srcOrd="0" destOrd="0" presId="urn:microsoft.com/office/officeart/2005/8/layout/hierarchy4"/>
    <dgm:cxn modelId="{B7F2FD7A-84E9-4C39-8242-8A6CB1F90151}" type="presParOf" srcId="{E90F88DA-5E61-424A-B732-5C68303019C3}" destId="{1D2F490A-8DF8-4A11-94F0-5AFF923A9FB9}" srcOrd="1" destOrd="0" presId="urn:microsoft.com/office/officeart/2005/8/layout/hierarchy4"/>
    <dgm:cxn modelId="{3FD5186C-7ED1-4A9A-8811-82A2012A6BD2}" type="presParOf" srcId="{C1E83283-3450-4F62-B0D5-17E107757E59}" destId="{0F693D78-C22A-4C84-AA7F-E6BEA286636A}" srcOrd="1" destOrd="0" presId="urn:microsoft.com/office/officeart/2005/8/layout/hierarchy4"/>
    <dgm:cxn modelId="{CF7B78F4-53D9-4F89-A4EA-4820C730D870}" type="presParOf" srcId="{C1E83283-3450-4F62-B0D5-17E107757E59}" destId="{6059686E-7D76-4521-90A3-AE1CE243AE4A}" srcOrd="2" destOrd="0" presId="urn:microsoft.com/office/officeart/2005/8/layout/hierarchy4"/>
    <dgm:cxn modelId="{840842BE-F667-422C-9594-0AAF594A05CA}" type="presParOf" srcId="{6059686E-7D76-4521-90A3-AE1CE243AE4A}" destId="{6CB645E4-165D-4F7D-91EB-E32C1DA6695D}" srcOrd="0" destOrd="0" presId="urn:microsoft.com/office/officeart/2005/8/layout/hierarchy4"/>
    <dgm:cxn modelId="{FC6DFE92-D0D2-42F7-BD2C-713A1BD366DD}" type="presParOf" srcId="{6059686E-7D76-4521-90A3-AE1CE243AE4A}" destId="{A4B318EB-AB48-4AFB-BE60-F6E2B11B3F5C}" srcOrd="1" destOrd="0" presId="urn:microsoft.com/office/officeart/2005/8/layout/hierarchy4"/>
    <dgm:cxn modelId="{5FCBF3D4-FCE4-4F74-AF40-67E96B836608}" type="presParOf" srcId="{6059686E-7D76-4521-90A3-AE1CE243AE4A}" destId="{BD5F5E83-AF62-45ED-ABD6-470E19BE4377}" srcOrd="2" destOrd="0" presId="urn:microsoft.com/office/officeart/2005/8/layout/hierarchy4"/>
    <dgm:cxn modelId="{A67EC60B-C2A8-47E7-AF2C-2DFFD5D30365}" type="presParOf" srcId="{BD5F5E83-AF62-45ED-ABD6-470E19BE4377}" destId="{536B6ABA-FCA2-4D53-B710-4F7EC610EBD4}" srcOrd="0" destOrd="0" presId="urn:microsoft.com/office/officeart/2005/8/layout/hierarchy4"/>
    <dgm:cxn modelId="{03E87140-578A-49EB-BE3E-580DD8EC407E}" type="presParOf" srcId="{536B6ABA-FCA2-4D53-B710-4F7EC610EBD4}" destId="{F3EFB9E2-C90F-4E21-BBFD-749E7C89B8EE}" srcOrd="0" destOrd="0" presId="urn:microsoft.com/office/officeart/2005/8/layout/hierarchy4"/>
    <dgm:cxn modelId="{E6569D4C-FF42-4DC4-AC3E-B25D0742BB25}" type="presParOf" srcId="{536B6ABA-FCA2-4D53-B710-4F7EC610EBD4}" destId="{8E73D373-ED23-4C5A-B3CB-7C58698DA000}" srcOrd="1" destOrd="0" presId="urn:microsoft.com/office/officeart/2005/8/layout/hierarchy4"/>
    <dgm:cxn modelId="{BF08FBFE-AF48-4496-8D41-38B2A14E4157}" type="presParOf" srcId="{536B6ABA-FCA2-4D53-B710-4F7EC610EBD4}" destId="{54C708C0-04DD-45F8-BC6A-4DB2C62E2D7B}" srcOrd="2" destOrd="0" presId="urn:microsoft.com/office/officeart/2005/8/layout/hierarchy4"/>
    <dgm:cxn modelId="{E19B335D-449C-40BA-82E3-46E0BBD3A07A}" type="presParOf" srcId="{54C708C0-04DD-45F8-BC6A-4DB2C62E2D7B}" destId="{F5EDEB03-EFD8-4D60-823B-18D4BF3CA48C}" srcOrd="0" destOrd="0" presId="urn:microsoft.com/office/officeart/2005/8/layout/hierarchy4"/>
    <dgm:cxn modelId="{B3C2E0B0-1C48-4A72-92AE-95AC138818CC}" type="presParOf" srcId="{F5EDEB03-EFD8-4D60-823B-18D4BF3CA48C}" destId="{481BDC1E-D7EB-49C0-8087-641F27121418}" srcOrd="0" destOrd="0" presId="urn:microsoft.com/office/officeart/2005/8/layout/hierarchy4"/>
    <dgm:cxn modelId="{585B0551-6F09-4E7E-883F-980C78D6CA6F}" type="presParOf" srcId="{F5EDEB03-EFD8-4D60-823B-18D4BF3CA48C}" destId="{3B3873AC-93A5-4DEC-BE51-A5DC1FF15306}" srcOrd="1" destOrd="0" presId="urn:microsoft.com/office/officeart/2005/8/layout/hierarchy4"/>
    <dgm:cxn modelId="{535B473C-572A-46D9-B85F-3FA7588455BB}" type="presParOf" srcId="{F5EDEB03-EFD8-4D60-823B-18D4BF3CA48C}" destId="{D26739AF-CE4E-4A41-80C9-16329238E1B7}" srcOrd="2" destOrd="0" presId="urn:microsoft.com/office/officeart/2005/8/layout/hierarchy4"/>
    <dgm:cxn modelId="{E7139A7A-A4DE-4C94-A954-26F403926DED}" type="presParOf" srcId="{D26739AF-CE4E-4A41-80C9-16329238E1B7}" destId="{31B5FD87-FCF1-4DA9-A04F-3E0022E3517F}" srcOrd="0" destOrd="0" presId="urn:microsoft.com/office/officeart/2005/8/layout/hierarchy4"/>
    <dgm:cxn modelId="{F456F9AD-6DA0-47C2-AC30-D9CAF83C601D}" type="presParOf" srcId="{31B5FD87-FCF1-4DA9-A04F-3E0022E3517F}" destId="{74863A0D-B3D5-4C02-874A-C6FED0DD3447}" srcOrd="0" destOrd="0" presId="urn:microsoft.com/office/officeart/2005/8/layout/hierarchy4"/>
    <dgm:cxn modelId="{5018BED6-47D7-42A4-A41A-A9CEAF9EF40C}" type="presParOf" srcId="{31B5FD87-FCF1-4DA9-A04F-3E0022E3517F}" destId="{A91FFA71-9578-41E3-8CBA-5EF9BC152835}" srcOrd="1" destOrd="0" presId="urn:microsoft.com/office/officeart/2005/8/layout/hierarchy4"/>
    <dgm:cxn modelId="{A683A173-28F8-428D-AC90-A37BB49F87F9}" type="presParOf" srcId="{54C708C0-04DD-45F8-BC6A-4DB2C62E2D7B}" destId="{5824E90D-C96E-4043-8852-9F05CD5B0E29}" srcOrd="1" destOrd="0" presId="urn:microsoft.com/office/officeart/2005/8/layout/hierarchy4"/>
    <dgm:cxn modelId="{345D2647-446D-4A27-BE41-D7DF51ACBB53}" type="presParOf" srcId="{54C708C0-04DD-45F8-BC6A-4DB2C62E2D7B}" destId="{B8698699-3B75-4E82-899E-993EAFA30C30}" srcOrd="2" destOrd="0" presId="urn:microsoft.com/office/officeart/2005/8/layout/hierarchy4"/>
    <dgm:cxn modelId="{69802BFC-6463-47F4-AFE5-7A9151449C78}" type="presParOf" srcId="{B8698699-3B75-4E82-899E-993EAFA30C30}" destId="{8C1A5F67-FAC0-470F-AB23-4BD8D82C2753}" srcOrd="0" destOrd="0" presId="urn:microsoft.com/office/officeart/2005/8/layout/hierarchy4"/>
    <dgm:cxn modelId="{3A6945F1-04F2-408C-A605-EDE519417155}" type="presParOf" srcId="{B8698699-3B75-4E82-899E-993EAFA30C30}" destId="{087B7418-DA5E-4033-89F0-F308C81112D5}" srcOrd="1" destOrd="0" presId="urn:microsoft.com/office/officeart/2005/8/layout/hierarchy4"/>
    <dgm:cxn modelId="{6CD94C54-9454-424C-AB33-BBF4C85AC228}" type="presParOf" srcId="{B8698699-3B75-4E82-899E-993EAFA30C30}" destId="{DC0E6E3F-FB08-46AF-B8C7-E7094EE45210}" srcOrd="2" destOrd="0" presId="urn:microsoft.com/office/officeart/2005/8/layout/hierarchy4"/>
    <dgm:cxn modelId="{1A348A3F-92F0-4054-A53F-478CF503E871}" type="presParOf" srcId="{DC0E6E3F-FB08-46AF-B8C7-E7094EE45210}" destId="{7D85E972-6A99-4967-9A27-75A05B82C2BA}" srcOrd="0" destOrd="0" presId="urn:microsoft.com/office/officeart/2005/8/layout/hierarchy4"/>
    <dgm:cxn modelId="{7088C88E-2B33-4F8F-AC86-73079BA53E44}" type="presParOf" srcId="{7D85E972-6A99-4967-9A27-75A05B82C2BA}" destId="{3CA3528E-A79C-4CDC-BB89-C83F92ACC55F}" srcOrd="0" destOrd="0" presId="urn:microsoft.com/office/officeart/2005/8/layout/hierarchy4"/>
    <dgm:cxn modelId="{D33E1A6A-800A-4C82-8E5F-A25318A7A088}" type="presParOf" srcId="{7D85E972-6A99-4967-9A27-75A05B82C2BA}" destId="{B33C16FD-7515-4B7F-802C-115861E462B5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47A81D6-38EB-4107-9D22-3F1E00176C9E}" type="doc">
      <dgm:prSet loTypeId="urn:microsoft.com/office/officeart/2008/layout/HexagonCluster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126835F-24B0-4030-BBE5-5F722608F614}">
      <dgm:prSet phldrT="[Текст]" custT="1"/>
      <dgm:spPr>
        <a:solidFill>
          <a:srgbClr val="004E6B"/>
        </a:solidFill>
        <a:ln>
          <a:solidFill>
            <a:srgbClr val="004E6B"/>
          </a:solidFill>
        </a:ln>
      </dgm:spPr>
      <dgm:t>
        <a:bodyPr/>
        <a:lstStyle/>
        <a:p>
          <a:r>
            <a:rPr lang="ru-RU" sz="900" dirty="0"/>
            <a:t>Атомная промышленность:</a:t>
          </a:r>
        </a:p>
        <a:p>
          <a:r>
            <a:rPr lang="ru-RU" sz="900" dirty="0"/>
            <a:t>Условия эксплуатации исключают использование табличных значений прочности</a:t>
          </a:r>
        </a:p>
      </dgm:t>
    </dgm:pt>
    <dgm:pt modelId="{7A0CB3C3-8D7D-46D5-9A61-4AF15A074470}" type="parTrans" cxnId="{1E80DBAD-A7C3-4C31-8EBC-6BAB6E864CAE}">
      <dgm:prSet/>
      <dgm:spPr/>
      <dgm:t>
        <a:bodyPr/>
        <a:lstStyle/>
        <a:p>
          <a:endParaRPr lang="ru-RU"/>
        </a:p>
      </dgm:t>
    </dgm:pt>
    <dgm:pt modelId="{0B993FC1-F4E9-4D14-A5A6-8CAC4C4B94D9}" type="sibTrans" cxnId="{1E80DBAD-A7C3-4C31-8EBC-6BAB6E864CAE}">
      <dgm:prSet/>
      <dgm:spPr>
        <a:blipFill rotWithShape="1">
          <a:blip xmlns:r="http://schemas.openxmlformats.org/officeDocument/2006/relationships" r:embed="rId1"/>
          <a:srcRect/>
          <a:stretch>
            <a:fillRect l="-15000" r="-15000"/>
          </a:stretch>
        </a:blipFill>
        <a:ln>
          <a:solidFill>
            <a:srgbClr val="004E6B"/>
          </a:solidFill>
        </a:ln>
      </dgm:spPr>
      <dgm:t>
        <a:bodyPr/>
        <a:lstStyle/>
        <a:p>
          <a:endParaRPr lang="ru-RU"/>
        </a:p>
      </dgm:t>
    </dgm:pt>
    <dgm:pt modelId="{CC72F3C8-1760-4F51-BD39-E98D44FA058A}">
      <dgm:prSet phldrT="[Текст]" custT="1"/>
      <dgm:spPr>
        <a:solidFill>
          <a:srgbClr val="004E6B"/>
        </a:solidFill>
        <a:ln>
          <a:solidFill>
            <a:srgbClr val="004E6B"/>
          </a:solidFill>
        </a:ln>
      </dgm:spPr>
      <dgm:t>
        <a:bodyPr/>
        <a:lstStyle/>
        <a:p>
          <a:r>
            <a:rPr lang="ru-RU" sz="900" dirty="0"/>
            <a:t>Строительство и эксплуатация ответственных и высотных сооружений:</a:t>
          </a:r>
        </a:p>
        <a:p>
          <a:r>
            <a:rPr lang="ru-RU" sz="900" dirty="0"/>
            <a:t>Мониторинг обеспечения безопасности</a:t>
          </a:r>
        </a:p>
      </dgm:t>
    </dgm:pt>
    <dgm:pt modelId="{0130BDA2-A86E-449C-9719-11271657E61F}" type="parTrans" cxnId="{272864C8-7501-427A-90AC-059086B90AF7}">
      <dgm:prSet/>
      <dgm:spPr/>
      <dgm:t>
        <a:bodyPr/>
        <a:lstStyle/>
        <a:p>
          <a:endParaRPr lang="ru-RU"/>
        </a:p>
      </dgm:t>
    </dgm:pt>
    <dgm:pt modelId="{857443E3-8520-4256-A00A-95B7B52D42BB}" type="sibTrans" cxnId="{272864C8-7501-427A-90AC-059086B90AF7}">
      <dgm:prSet/>
      <dgm:spPr>
        <a:blipFill rotWithShape="1">
          <a:blip xmlns:r="http://schemas.openxmlformats.org/officeDocument/2006/relationships" r:embed="rId2"/>
          <a:srcRect/>
          <a:stretch>
            <a:fillRect t="-8000" b="-8000"/>
          </a:stretch>
        </a:blipFill>
        <a:ln>
          <a:solidFill>
            <a:srgbClr val="004E6B"/>
          </a:solidFill>
        </a:ln>
      </dgm:spPr>
      <dgm:t>
        <a:bodyPr/>
        <a:lstStyle/>
        <a:p>
          <a:endParaRPr lang="ru-RU"/>
        </a:p>
      </dgm:t>
    </dgm:pt>
    <dgm:pt modelId="{F530A458-7925-41D2-8C0B-5AF8300A379C}">
      <dgm:prSet phldrT="[Текст]" custT="1"/>
      <dgm:spPr>
        <a:solidFill>
          <a:srgbClr val="004E6B"/>
        </a:solidFill>
        <a:ln>
          <a:solidFill>
            <a:srgbClr val="004E6B"/>
          </a:solidFill>
        </a:ln>
      </dgm:spPr>
      <dgm:t>
        <a:bodyPr/>
        <a:lstStyle/>
        <a:p>
          <a:r>
            <a:rPr lang="ru-RU" sz="900" dirty="0"/>
            <a:t>Химическое машиностроение, авиа- и двигателестроение</a:t>
          </a:r>
        </a:p>
        <a:p>
          <a:r>
            <a:rPr lang="ru-RU" sz="900" dirty="0"/>
            <a:t>Сложные изделия теоретический расчет затруднен, необходимость натурных испытаний</a:t>
          </a:r>
        </a:p>
      </dgm:t>
    </dgm:pt>
    <dgm:pt modelId="{82A3E893-40B1-4ECD-B182-43ACA08563A7}" type="parTrans" cxnId="{2D16051C-1229-4561-A4A2-F44B41A59E53}">
      <dgm:prSet/>
      <dgm:spPr/>
      <dgm:t>
        <a:bodyPr/>
        <a:lstStyle/>
        <a:p>
          <a:endParaRPr lang="ru-RU"/>
        </a:p>
      </dgm:t>
    </dgm:pt>
    <dgm:pt modelId="{458C3823-F599-4338-9A7E-09169C6451E3}" type="sibTrans" cxnId="{2D16051C-1229-4561-A4A2-F44B41A59E53}">
      <dgm:prSet/>
      <dgm:spPr>
        <a:blipFill dpi="0" rotWithShape="1">
          <a:blip xmlns:r="http://schemas.openxmlformats.org/officeDocument/2006/relationships" r:embed="rId3"/>
          <a:srcRect/>
          <a:stretch>
            <a:fillRect l="-18664" t="-9393" r="-18664" b="-9393"/>
          </a:stretch>
        </a:blipFill>
        <a:ln>
          <a:solidFill>
            <a:srgbClr val="004E6B"/>
          </a:solidFill>
        </a:ln>
      </dgm:spPr>
      <dgm:t>
        <a:bodyPr/>
        <a:lstStyle/>
        <a:p>
          <a:endParaRPr lang="ru-RU"/>
        </a:p>
      </dgm:t>
    </dgm:pt>
    <dgm:pt modelId="{31EE0621-41C9-45DB-9873-4F42243E7525}" type="pres">
      <dgm:prSet presAssocID="{D47A81D6-38EB-4107-9D22-3F1E00176C9E}" presName="Name0" presStyleCnt="0">
        <dgm:presLayoutVars>
          <dgm:chMax val="21"/>
          <dgm:chPref val="21"/>
        </dgm:presLayoutVars>
      </dgm:prSet>
      <dgm:spPr/>
    </dgm:pt>
    <dgm:pt modelId="{C911B91B-6588-4AE6-97AA-D32273256729}" type="pres">
      <dgm:prSet presAssocID="{4126835F-24B0-4030-BBE5-5F722608F614}" presName="text1" presStyleCnt="0"/>
      <dgm:spPr/>
    </dgm:pt>
    <dgm:pt modelId="{7DAB7B33-CE59-4C35-9BA6-4606C94EF69B}" type="pres">
      <dgm:prSet presAssocID="{4126835F-24B0-4030-BBE5-5F722608F614}" presName="textRepeatNode" presStyleLbl="alignNode1" presStyleIdx="0" presStyleCnt="3" custAng="0" custLinFactNeighborX="-2683" custLinFactNeighborY="-915">
        <dgm:presLayoutVars>
          <dgm:chMax val="0"/>
          <dgm:chPref val="0"/>
          <dgm:bulletEnabled val="1"/>
        </dgm:presLayoutVars>
      </dgm:prSet>
      <dgm:spPr/>
    </dgm:pt>
    <dgm:pt modelId="{71E870FE-4FFB-4B69-8093-84FF5FDA5286}" type="pres">
      <dgm:prSet presAssocID="{4126835F-24B0-4030-BBE5-5F722608F614}" presName="textaccent1" presStyleCnt="0"/>
      <dgm:spPr/>
    </dgm:pt>
    <dgm:pt modelId="{F1BC1F59-2878-4525-BF8B-242253ABB4C5}" type="pres">
      <dgm:prSet presAssocID="{4126835F-24B0-4030-BBE5-5F722608F614}" presName="accentRepeatNode" presStyleLbl="solidAlignAcc1" presStyleIdx="0" presStyleCnt="6" custLinFactY="-200000" custLinFactNeighborX="8857" custLinFactNeighborY="-257099"/>
      <dgm:spPr/>
    </dgm:pt>
    <dgm:pt modelId="{FC29CB2C-D534-43DB-99C4-2DFA999AB2A3}" type="pres">
      <dgm:prSet presAssocID="{0B993FC1-F4E9-4D14-A5A6-8CAC4C4B94D9}" presName="image1" presStyleCnt="0"/>
      <dgm:spPr/>
    </dgm:pt>
    <dgm:pt modelId="{091BFADB-3F03-41B3-A6E2-6D20AA4EFA23}" type="pres">
      <dgm:prSet presAssocID="{0B993FC1-F4E9-4D14-A5A6-8CAC4C4B94D9}" presName="imageRepeatNode" presStyleLbl="alignAcc1" presStyleIdx="0" presStyleCnt="3" custAng="0" custLinFactNeighborX="1517" custLinFactNeighborY="-1206"/>
      <dgm:spPr/>
    </dgm:pt>
    <dgm:pt modelId="{91DBCEF1-0451-40B0-AA4F-B58311340FA6}" type="pres">
      <dgm:prSet presAssocID="{0B993FC1-F4E9-4D14-A5A6-8CAC4C4B94D9}" presName="imageaccent1" presStyleCnt="0"/>
      <dgm:spPr/>
    </dgm:pt>
    <dgm:pt modelId="{D4711D1E-09F5-4447-BEAF-56EA4BA217DF}" type="pres">
      <dgm:prSet presAssocID="{0B993FC1-F4E9-4D14-A5A6-8CAC4C4B94D9}" presName="accentRepeatNode" presStyleLbl="solidAlignAcc1" presStyleIdx="1" presStyleCnt="6" custAng="0" custLinFactX="100000" custLinFactY="-100000" custLinFactNeighborX="192880" custLinFactNeighborY="-158359"/>
      <dgm:spPr/>
    </dgm:pt>
    <dgm:pt modelId="{D599691D-D5C0-4343-80F6-0AA013CAF7C9}" type="pres">
      <dgm:prSet presAssocID="{CC72F3C8-1760-4F51-BD39-E98D44FA058A}" presName="text2" presStyleCnt="0"/>
      <dgm:spPr/>
    </dgm:pt>
    <dgm:pt modelId="{ABFA288E-7181-4EBE-8996-05B09A0D4361}" type="pres">
      <dgm:prSet presAssocID="{CC72F3C8-1760-4F51-BD39-E98D44FA058A}" presName="textRepeatNode" presStyleLbl="alignNode1" presStyleIdx="1" presStyleCnt="3" custLinFactY="-3188" custLinFactNeighborX="-6502" custLinFactNeighborY="-100000">
        <dgm:presLayoutVars>
          <dgm:chMax val="0"/>
          <dgm:chPref val="0"/>
          <dgm:bulletEnabled val="1"/>
        </dgm:presLayoutVars>
      </dgm:prSet>
      <dgm:spPr/>
    </dgm:pt>
    <dgm:pt modelId="{719CF3AB-1258-47E5-91F8-2FE8C48901E3}" type="pres">
      <dgm:prSet presAssocID="{CC72F3C8-1760-4F51-BD39-E98D44FA058A}" presName="textaccent2" presStyleCnt="0"/>
      <dgm:spPr/>
    </dgm:pt>
    <dgm:pt modelId="{E4221CE7-E767-4E5D-B366-945213205A95}" type="pres">
      <dgm:prSet presAssocID="{CC72F3C8-1760-4F51-BD39-E98D44FA058A}" presName="accentRepeatNode" presStyleLbl="solidAlignAcc1" presStyleIdx="2" presStyleCnt="6" custLinFactX="-600000" custLinFactY="-176497" custLinFactNeighborX="-684141" custLinFactNeighborY="-200000"/>
      <dgm:spPr/>
    </dgm:pt>
    <dgm:pt modelId="{703E3B52-E59E-4ABE-A568-875EB715DC22}" type="pres">
      <dgm:prSet presAssocID="{857443E3-8520-4256-A00A-95B7B52D42BB}" presName="image2" presStyleCnt="0"/>
      <dgm:spPr/>
    </dgm:pt>
    <dgm:pt modelId="{832702D9-0676-4EC0-9BED-023B2406412A}" type="pres">
      <dgm:prSet presAssocID="{857443E3-8520-4256-A00A-95B7B52D42BB}" presName="imageRepeatNode" presStyleLbl="alignAcc1" presStyleIdx="1" presStyleCnt="3" custScaleY="99888" custLinFactNeighborX="-90806" custLinFactNeighborY="-53745"/>
      <dgm:spPr/>
    </dgm:pt>
    <dgm:pt modelId="{63E0CC6B-DB83-47C6-B2C5-B9A146528790}" type="pres">
      <dgm:prSet presAssocID="{857443E3-8520-4256-A00A-95B7B52D42BB}" presName="imageaccent2" presStyleCnt="0"/>
      <dgm:spPr/>
    </dgm:pt>
    <dgm:pt modelId="{6AE3F95D-F663-4863-B55E-5CD118C08EDA}" type="pres">
      <dgm:prSet presAssocID="{857443E3-8520-4256-A00A-95B7B52D42BB}" presName="accentRepeatNode" presStyleLbl="solidAlignAcc1" presStyleIdx="3" presStyleCnt="6" custLinFactX="-300000" custLinFactY="-400000" custLinFactNeighborX="-341649" custLinFactNeighborY="-412893"/>
      <dgm:spPr/>
    </dgm:pt>
    <dgm:pt modelId="{8F7547DC-8156-495C-A7B9-D671CF9224C0}" type="pres">
      <dgm:prSet presAssocID="{F530A458-7925-41D2-8C0B-5AF8300A379C}" presName="text3" presStyleCnt="0"/>
      <dgm:spPr/>
    </dgm:pt>
    <dgm:pt modelId="{F5DF0DC9-85AE-48F5-B065-439035B819A3}" type="pres">
      <dgm:prSet presAssocID="{F530A458-7925-41D2-8C0B-5AF8300A379C}" presName="textRepeatNode" presStyleLbl="alignNode1" presStyleIdx="2" presStyleCnt="3" custLinFactNeighborX="-85480" custLinFactNeighborY="-51276">
        <dgm:presLayoutVars>
          <dgm:chMax val="0"/>
          <dgm:chPref val="0"/>
          <dgm:bulletEnabled val="1"/>
        </dgm:presLayoutVars>
      </dgm:prSet>
      <dgm:spPr/>
    </dgm:pt>
    <dgm:pt modelId="{84C46E4C-F939-400A-9BB1-1454888D6E81}" type="pres">
      <dgm:prSet presAssocID="{F530A458-7925-41D2-8C0B-5AF8300A379C}" presName="textaccent3" presStyleCnt="0"/>
      <dgm:spPr/>
    </dgm:pt>
    <dgm:pt modelId="{9F58EF31-727D-4EC0-8B62-1F46977749EB}" type="pres">
      <dgm:prSet presAssocID="{F530A458-7925-41D2-8C0B-5AF8300A379C}" presName="accentRepeatNode" presStyleLbl="solidAlignAcc1" presStyleIdx="4" presStyleCnt="6" custLinFactY="-39362" custLinFactNeighborX="-6542" custLinFactNeighborY="-100000"/>
      <dgm:spPr/>
    </dgm:pt>
    <dgm:pt modelId="{CCAB95E9-207A-4DBF-AADD-83B72A5F8094}" type="pres">
      <dgm:prSet presAssocID="{458C3823-F599-4338-9A7E-09169C6451E3}" presName="image3" presStyleCnt="0"/>
      <dgm:spPr/>
    </dgm:pt>
    <dgm:pt modelId="{56C995AC-C7EA-4A0E-981A-C2A6BB51CDC6}" type="pres">
      <dgm:prSet presAssocID="{458C3823-F599-4338-9A7E-09169C6451E3}" presName="imageRepeatNode" presStyleLbl="alignAcc1" presStyleIdx="2" presStyleCnt="3" custLinFactNeighborX="-87479" custLinFactNeighborY="-47007"/>
      <dgm:spPr/>
    </dgm:pt>
    <dgm:pt modelId="{6162BEBC-E218-4CC3-BF42-EE28D93EB6D1}" type="pres">
      <dgm:prSet presAssocID="{458C3823-F599-4338-9A7E-09169C6451E3}" presName="imageaccent3" presStyleCnt="0"/>
      <dgm:spPr/>
    </dgm:pt>
    <dgm:pt modelId="{B221E0D7-DB42-4EC8-BF12-AB9F4FF9D911}" type="pres">
      <dgm:prSet presAssocID="{458C3823-F599-4338-9A7E-09169C6451E3}" presName="accentRepeatNode" presStyleLbl="solidAlignAcc1" presStyleIdx="5" presStyleCnt="6" custLinFactY="200000" custLinFactNeighborX="79844" custLinFactNeighborY="220546"/>
      <dgm:spPr/>
    </dgm:pt>
  </dgm:ptLst>
  <dgm:cxnLst>
    <dgm:cxn modelId="{CF6CF518-6859-4BB6-A19D-D80D1785B140}" type="presOf" srcId="{458C3823-F599-4338-9A7E-09169C6451E3}" destId="{56C995AC-C7EA-4A0E-981A-C2A6BB51CDC6}" srcOrd="0" destOrd="0" presId="urn:microsoft.com/office/officeart/2008/layout/HexagonCluster"/>
    <dgm:cxn modelId="{2D16051C-1229-4561-A4A2-F44B41A59E53}" srcId="{D47A81D6-38EB-4107-9D22-3F1E00176C9E}" destId="{F530A458-7925-41D2-8C0B-5AF8300A379C}" srcOrd="2" destOrd="0" parTransId="{82A3E893-40B1-4ECD-B182-43ACA08563A7}" sibTransId="{458C3823-F599-4338-9A7E-09169C6451E3}"/>
    <dgm:cxn modelId="{CAF09A62-2AD6-412F-8958-F79D5922F17C}" type="presOf" srcId="{0B993FC1-F4E9-4D14-A5A6-8CAC4C4B94D9}" destId="{091BFADB-3F03-41B3-A6E2-6D20AA4EFA23}" srcOrd="0" destOrd="0" presId="urn:microsoft.com/office/officeart/2008/layout/HexagonCluster"/>
    <dgm:cxn modelId="{420F2845-2DF8-4A76-A57A-7D8172F0647C}" type="presOf" srcId="{F530A458-7925-41D2-8C0B-5AF8300A379C}" destId="{F5DF0DC9-85AE-48F5-B065-439035B819A3}" srcOrd="0" destOrd="0" presId="urn:microsoft.com/office/officeart/2008/layout/HexagonCluster"/>
    <dgm:cxn modelId="{604EE766-E139-416F-9519-1AB8F4549086}" type="presOf" srcId="{857443E3-8520-4256-A00A-95B7B52D42BB}" destId="{832702D9-0676-4EC0-9BED-023B2406412A}" srcOrd="0" destOrd="0" presId="urn:microsoft.com/office/officeart/2008/layout/HexagonCluster"/>
    <dgm:cxn modelId="{7BF1E080-201D-4C89-A11A-519B94FB2B7F}" type="presOf" srcId="{CC72F3C8-1760-4F51-BD39-E98D44FA058A}" destId="{ABFA288E-7181-4EBE-8996-05B09A0D4361}" srcOrd="0" destOrd="0" presId="urn:microsoft.com/office/officeart/2008/layout/HexagonCluster"/>
    <dgm:cxn modelId="{C0896781-42D4-4FD4-B834-0577B6495E43}" type="presOf" srcId="{D47A81D6-38EB-4107-9D22-3F1E00176C9E}" destId="{31EE0621-41C9-45DB-9873-4F42243E7525}" srcOrd="0" destOrd="0" presId="urn:microsoft.com/office/officeart/2008/layout/HexagonCluster"/>
    <dgm:cxn modelId="{1E80DBAD-A7C3-4C31-8EBC-6BAB6E864CAE}" srcId="{D47A81D6-38EB-4107-9D22-3F1E00176C9E}" destId="{4126835F-24B0-4030-BBE5-5F722608F614}" srcOrd="0" destOrd="0" parTransId="{7A0CB3C3-8D7D-46D5-9A61-4AF15A074470}" sibTransId="{0B993FC1-F4E9-4D14-A5A6-8CAC4C4B94D9}"/>
    <dgm:cxn modelId="{8B4B71BB-032C-490F-958B-F8F9694ABE8F}" type="presOf" srcId="{4126835F-24B0-4030-BBE5-5F722608F614}" destId="{7DAB7B33-CE59-4C35-9BA6-4606C94EF69B}" srcOrd="0" destOrd="0" presId="urn:microsoft.com/office/officeart/2008/layout/HexagonCluster"/>
    <dgm:cxn modelId="{272864C8-7501-427A-90AC-059086B90AF7}" srcId="{D47A81D6-38EB-4107-9D22-3F1E00176C9E}" destId="{CC72F3C8-1760-4F51-BD39-E98D44FA058A}" srcOrd="1" destOrd="0" parTransId="{0130BDA2-A86E-449C-9719-11271657E61F}" sibTransId="{857443E3-8520-4256-A00A-95B7B52D42BB}"/>
    <dgm:cxn modelId="{7713F5CD-9841-4821-A6F3-E5E3600925D9}" type="presParOf" srcId="{31EE0621-41C9-45DB-9873-4F42243E7525}" destId="{C911B91B-6588-4AE6-97AA-D32273256729}" srcOrd="0" destOrd="0" presId="urn:microsoft.com/office/officeart/2008/layout/HexagonCluster"/>
    <dgm:cxn modelId="{F76DA2E6-BC58-4BFA-A347-121C671B4417}" type="presParOf" srcId="{C911B91B-6588-4AE6-97AA-D32273256729}" destId="{7DAB7B33-CE59-4C35-9BA6-4606C94EF69B}" srcOrd="0" destOrd="0" presId="urn:microsoft.com/office/officeart/2008/layout/HexagonCluster"/>
    <dgm:cxn modelId="{431D3CB1-7A89-496C-BDA3-E842805CDA05}" type="presParOf" srcId="{31EE0621-41C9-45DB-9873-4F42243E7525}" destId="{71E870FE-4FFB-4B69-8093-84FF5FDA5286}" srcOrd="1" destOrd="0" presId="urn:microsoft.com/office/officeart/2008/layout/HexagonCluster"/>
    <dgm:cxn modelId="{37194298-635C-4469-B305-B20FB2A650E0}" type="presParOf" srcId="{71E870FE-4FFB-4B69-8093-84FF5FDA5286}" destId="{F1BC1F59-2878-4525-BF8B-242253ABB4C5}" srcOrd="0" destOrd="0" presId="urn:microsoft.com/office/officeart/2008/layout/HexagonCluster"/>
    <dgm:cxn modelId="{C85251E1-7CC5-4950-BE80-D1F6E7006BF3}" type="presParOf" srcId="{31EE0621-41C9-45DB-9873-4F42243E7525}" destId="{FC29CB2C-D534-43DB-99C4-2DFA999AB2A3}" srcOrd="2" destOrd="0" presId="urn:microsoft.com/office/officeart/2008/layout/HexagonCluster"/>
    <dgm:cxn modelId="{B1A44471-F04C-42E9-A4EC-5CF36395429E}" type="presParOf" srcId="{FC29CB2C-D534-43DB-99C4-2DFA999AB2A3}" destId="{091BFADB-3F03-41B3-A6E2-6D20AA4EFA23}" srcOrd="0" destOrd="0" presId="urn:microsoft.com/office/officeart/2008/layout/HexagonCluster"/>
    <dgm:cxn modelId="{C0A56A7C-5E63-4781-A5C5-06303668DBD7}" type="presParOf" srcId="{31EE0621-41C9-45DB-9873-4F42243E7525}" destId="{91DBCEF1-0451-40B0-AA4F-B58311340FA6}" srcOrd="3" destOrd="0" presId="urn:microsoft.com/office/officeart/2008/layout/HexagonCluster"/>
    <dgm:cxn modelId="{5A709645-BD6A-4AB5-A7B7-360486EBA078}" type="presParOf" srcId="{91DBCEF1-0451-40B0-AA4F-B58311340FA6}" destId="{D4711D1E-09F5-4447-BEAF-56EA4BA217DF}" srcOrd="0" destOrd="0" presId="urn:microsoft.com/office/officeart/2008/layout/HexagonCluster"/>
    <dgm:cxn modelId="{30573D20-9CB2-465B-9376-91FA0D92AD6F}" type="presParOf" srcId="{31EE0621-41C9-45DB-9873-4F42243E7525}" destId="{D599691D-D5C0-4343-80F6-0AA013CAF7C9}" srcOrd="4" destOrd="0" presId="urn:microsoft.com/office/officeart/2008/layout/HexagonCluster"/>
    <dgm:cxn modelId="{328FDCFB-017B-4DCC-8112-0EEBAA818DAB}" type="presParOf" srcId="{D599691D-D5C0-4343-80F6-0AA013CAF7C9}" destId="{ABFA288E-7181-4EBE-8996-05B09A0D4361}" srcOrd="0" destOrd="0" presId="urn:microsoft.com/office/officeart/2008/layout/HexagonCluster"/>
    <dgm:cxn modelId="{43CC4D52-37FE-4AB7-BC4B-08194379030C}" type="presParOf" srcId="{31EE0621-41C9-45DB-9873-4F42243E7525}" destId="{719CF3AB-1258-47E5-91F8-2FE8C48901E3}" srcOrd="5" destOrd="0" presId="urn:microsoft.com/office/officeart/2008/layout/HexagonCluster"/>
    <dgm:cxn modelId="{42440E8B-A206-40C7-894C-FB5F0FDA7D11}" type="presParOf" srcId="{719CF3AB-1258-47E5-91F8-2FE8C48901E3}" destId="{E4221CE7-E767-4E5D-B366-945213205A95}" srcOrd="0" destOrd="0" presId="urn:microsoft.com/office/officeart/2008/layout/HexagonCluster"/>
    <dgm:cxn modelId="{A1E940F1-396C-4CFA-91A4-D5BC40256055}" type="presParOf" srcId="{31EE0621-41C9-45DB-9873-4F42243E7525}" destId="{703E3B52-E59E-4ABE-A568-875EB715DC22}" srcOrd="6" destOrd="0" presId="urn:microsoft.com/office/officeart/2008/layout/HexagonCluster"/>
    <dgm:cxn modelId="{7AB6C634-FCB8-4592-80F4-7AA5A5A5B905}" type="presParOf" srcId="{703E3B52-E59E-4ABE-A568-875EB715DC22}" destId="{832702D9-0676-4EC0-9BED-023B2406412A}" srcOrd="0" destOrd="0" presId="urn:microsoft.com/office/officeart/2008/layout/HexagonCluster"/>
    <dgm:cxn modelId="{0E437DDA-C5AF-4433-9242-9066ECCA2994}" type="presParOf" srcId="{31EE0621-41C9-45DB-9873-4F42243E7525}" destId="{63E0CC6B-DB83-47C6-B2C5-B9A146528790}" srcOrd="7" destOrd="0" presId="urn:microsoft.com/office/officeart/2008/layout/HexagonCluster"/>
    <dgm:cxn modelId="{67A2C8E5-CE30-4357-ADA8-E4A1737F05F2}" type="presParOf" srcId="{63E0CC6B-DB83-47C6-B2C5-B9A146528790}" destId="{6AE3F95D-F663-4863-B55E-5CD118C08EDA}" srcOrd="0" destOrd="0" presId="urn:microsoft.com/office/officeart/2008/layout/HexagonCluster"/>
    <dgm:cxn modelId="{59C9D868-2D53-40C4-A4F9-2379ED424E6E}" type="presParOf" srcId="{31EE0621-41C9-45DB-9873-4F42243E7525}" destId="{8F7547DC-8156-495C-A7B9-D671CF9224C0}" srcOrd="8" destOrd="0" presId="urn:microsoft.com/office/officeart/2008/layout/HexagonCluster"/>
    <dgm:cxn modelId="{4D50B655-F07A-4334-8C1B-A46E30F9F60C}" type="presParOf" srcId="{8F7547DC-8156-495C-A7B9-D671CF9224C0}" destId="{F5DF0DC9-85AE-48F5-B065-439035B819A3}" srcOrd="0" destOrd="0" presId="urn:microsoft.com/office/officeart/2008/layout/HexagonCluster"/>
    <dgm:cxn modelId="{2B780F1E-C83B-4514-8DDB-70B46383F5E2}" type="presParOf" srcId="{31EE0621-41C9-45DB-9873-4F42243E7525}" destId="{84C46E4C-F939-400A-9BB1-1454888D6E81}" srcOrd="9" destOrd="0" presId="urn:microsoft.com/office/officeart/2008/layout/HexagonCluster"/>
    <dgm:cxn modelId="{76134121-FD0F-447A-8DA9-9FF6AF6B3086}" type="presParOf" srcId="{84C46E4C-F939-400A-9BB1-1454888D6E81}" destId="{9F58EF31-727D-4EC0-8B62-1F46977749EB}" srcOrd="0" destOrd="0" presId="urn:microsoft.com/office/officeart/2008/layout/HexagonCluster"/>
    <dgm:cxn modelId="{4C566FFE-6607-4DC9-B2A8-C8C1B1908447}" type="presParOf" srcId="{31EE0621-41C9-45DB-9873-4F42243E7525}" destId="{CCAB95E9-207A-4DBF-AADD-83B72A5F8094}" srcOrd="10" destOrd="0" presId="urn:microsoft.com/office/officeart/2008/layout/HexagonCluster"/>
    <dgm:cxn modelId="{1BAE518F-62B1-433E-83C7-E43B426FB1E7}" type="presParOf" srcId="{CCAB95E9-207A-4DBF-AADD-83B72A5F8094}" destId="{56C995AC-C7EA-4A0E-981A-C2A6BB51CDC6}" srcOrd="0" destOrd="0" presId="urn:microsoft.com/office/officeart/2008/layout/HexagonCluster"/>
    <dgm:cxn modelId="{289533B6-0083-44B0-A2F5-1DCBCA0F2851}" type="presParOf" srcId="{31EE0621-41C9-45DB-9873-4F42243E7525}" destId="{6162BEBC-E218-4CC3-BF42-EE28D93EB6D1}" srcOrd="11" destOrd="0" presId="urn:microsoft.com/office/officeart/2008/layout/HexagonCluster"/>
    <dgm:cxn modelId="{1D0532A0-389B-46AA-BA03-5D400CFD38B9}" type="presParOf" srcId="{6162BEBC-E218-4CC3-BF42-EE28D93EB6D1}" destId="{B221E0D7-DB42-4EC8-BF12-AB9F4FF9D911}" srcOrd="0" destOrd="0" presId="urn:microsoft.com/office/officeart/2008/layout/HexagonCluster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C90923-286E-4F0A-8CDE-2CA62B209158}">
      <dsp:nvSpPr>
        <dsp:cNvPr id="0" name=""/>
        <dsp:cNvSpPr/>
      </dsp:nvSpPr>
      <dsp:spPr>
        <a:xfrm rot="16200000">
          <a:off x="3347841" y="-3260794"/>
          <a:ext cx="465085" cy="7160768"/>
        </a:xfrm>
        <a:prstGeom prst="round2SameRect">
          <a:avLst/>
        </a:prstGeom>
        <a:solidFill>
          <a:schemeClr val="accent3">
            <a:lumMod val="20000"/>
            <a:lumOff val="8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100" b="1" kern="1200" dirty="0">
              <a:latin typeface="+mn-lt"/>
              <a:cs typeface="Times New Roman" pitchFamily="18" charset="0"/>
            </a:rPr>
            <a:t>ГОСТ Р ИСО 17034-2020 </a:t>
          </a:r>
          <a:r>
            <a:rPr lang="ru-RU" sz="1100" kern="1200" dirty="0">
              <a:latin typeface="+mn-lt"/>
              <a:cs typeface="Times New Roman" pitchFamily="18" charset="0"/>
            </a:rPr>
            <a:t>Общие требования к компетентности производителей стандартных образцов</a:t>
          </a:r>
          <a:endParaRPr lang="ru-RU" sz="1100" kern="1200" dirty="0">
            <a:latin typeface="+mn-lt"/>
          </a:endParaRPr>
        </a:p>
      </dsp:txBody>
      <dsp:txXfrm rot="5400000">
        <a:off x="22704" y="109751"/>
        <a:ext cx="7138064" cy="419677"/>
      </dsp:txXfrm>
    </dsp:sp>
    <dsp:sp modelId="{D6D3E000-45A7-4622-B7D4-FA16CD3AF9EE}">
      <dsp:nvSpPr>
        <dsp:cNvPr id="0" name=""/>
        <dsp:cNvSpPr/>
      </dsp:nvSpPr>
      <dsp:spPr>
        <a:xfrm>
          <a:off x="7160767" y="2709"/>
          <a:ext cx="4027932" cy="633760"/>
        </a:xfrm>
        <a:prstGeom prst="roundRect">
          <a:avLst/>
        </a:prstGeom>
        <a:solidFill>
          <a:srgbClr val="004E6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latin typeface="+mn-lt"/>
              <a:cs typeface="Times New Roman" pitchFamily="18" charset="0"/>
            </a:rPr>
            <a:t>Вступил в силу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latin typeface="+mn-lt"/>
              <a:cs typeface="Times New Roman" pitchFamily="18" charset="0"/>
            </a:rPr>
            <a:t>с 01 декабря 202</a:t>
          </a:r>
          <a:r>
            <a:rPr lang="en-US" sz="1600" kern="1200" dirty="0">
              <a:latin typeface="+mn-lt"/>
              <a:cs typeface="Times New Roman" pitchFamily="18" charset="0"/>
            </a:rPr>
            <a:t>1</a:t>
          </a:r>
          <a:r>
            <a:rPr lang="ru-RU" sz="1600" kern="1200" dirty="0">
              <a:latin typeface="+mn-lt"/>
              <a:cs typeface="Times New Roman" pitchFamily="18" charset="0"/>
            </a:rPr>
            <a:t> г.</a:t>
          </a:r>
          <a:endParaRPr lang="ru-RU" sz="1600" kern="1200" dirty="0">
            <a:latin typeface="+mn-lt"/>
          </a:endParaRPr>
        </a:p>
      </dsp:txBody>
      <dsp:txXfrm>
        <a:off x="7191705" y="33647"/>
        <a:ext cx="3966056" cy="571884"/>
      </dsp:txXfrm>
    </dsp:sp>
    <dsp:sp modelId="{269B12BD-C4D4-48A3-9E84-99F5A86DF614}">
      <dsp:nvSpPr>
        <dsp:cNvPr id="0" name=""/>
        <dsp:cNvSpPr/>
      </dsp:nvSpPr>
      <dsp:spPr>
        <a:xfrm rot="16200000">
          <a:off x="2827512" y="-2108204"/>
          <a:ext cx="1505743" cy="7160768"/>
        </a:xfrm>
        <a:prstGeom prst="round2SameRect">
          <a:avLst/>
        </a:prstGeom>
        <a:solidFill>
          <a:schemeClr val="accent3">
            <a:lumMod val="20000"/>
            <a:lumOff val="8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ru-RU" sz="1100" b="1" kern="1200" dirty="0">
              <a:latin typeface="+mn-lt"/>
              <a:cs typeface="Times New Roman" pitchFamily="18" charset="0"/>
            </a:rPr>
            <a:t>РМГ 52–2002 </a:t>
          </a:r>
          <a:r>
            <a:rPr lang="ru-RU" sz="1100" kern="1200" dirty="0">
              <a:latin typeface="+mn-lt"/>
              <a:cs typeface="Times New Roman" pitchFamily="18" charset="0"/>
            </a:rPr>
            <a:t>ГСИ. Общие методические рекомендации по применению положений ГОСТ 8.315–97 при разработке и применении стандартных образцов;</a:t>
          </a:r>
          <a:endParaRPr lang="ru-RU" sz="1100" kern="1200" dirty="0">
            <a:latin typeface="+mn-lt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100" b="1" kern="1200" dirty="0">
              <a:latin typeface="+mn-lt"/>
              <a:cs typeface="Times New Roman" pitchFamily="18" charset="0"/>
            </a:rPr>
            <a:t>РМГ 53–2002 </a:t>
          </a:r>
          <a:r>
            <a:rPr lang="ru-RU" sz="1100" kern="1200" dirty="0">
              <a:latin typeface="+mn-lt"/>
              <a:cs typeface="Times New Roman" pitchFamily="18" charset="0"/>
            </a:rPr>
            <a:t>ГСИ. Стандартные образцы. Оценивание метрологических характеристик с использованием эталонов и образцовых средств измерений;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100" b="1" kern="1200" dirty="0">
              <a:latin typeface="+mn-lt"/>
              <a:cs typeface="Times New Roman" pitchFamily="18" charset="0"/>
            </a:rPr>
            <a:t>РМГ 55–2002 </a:t>
          </a:r>
          <a:r>
            <a:rPr lang="ru-RU" sz="1100" kern="1200" dirty="0">
              <a:latin typeface="+mn-lt"/>
              <a:cs typeface="Times New Roman" pitchFamily="18" charset="0"/>
            </a:rPr>
            <a:t>ГСИ. Стандартные образцы состава чистых органических веществ. Методы аттестации. Основные положения;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100" b="1" kern="1200" dirty="0">
              <a:latin typeface="+mn-lt"/>
              <a:cs typeface="Times New Roman" pitchFamily="18" charset="0"/>
            </a:rPr>
            <a:t>РМГ 56–2002 </a:t>
          </a:r>
          <a:r>
            <a:rPr lang="ru-RU" sz="1100" kern="1200" dirty="0">
              <a:latin typeface="+mn-lt"/>
              <a:cs typeface="Times New Roman" pitchFamily="18" charset="0"/>
            </a:rPr>
            <a:t>ГСИ. Комплекты стандартных образцов состава веществ и материалов. Методика взаимного сличения.</a:t>
          </a:r>
        </a:p>
      </dsp:txBody>
      <dsp:txXfrm rot="5400000">
        <a:off x="73504" y="792812"/>
        <a:ext cx="7087264" cy="1358735"/>
      </dsp:txXfrm>
    </dsp:sp>
    <dsp:sp modelId="{A6891768-DF32-4670-A1A3-33FF5EE47B0F}">
      <dsp:nvSpPr>
        <dsp:cNvPr id="0" name=""/>
        <dsp:cNvSpPr/>
      </dsp:nvSpPr>
      <dsp:spPr>
        <a:xfrm>
          <a:off x="7160768" y="720838"/>
          <a:ext cx="4027932" cy="1502681"/>
        </a:xfrm>
        <a:prstGeom prst="roundRect">
          <a:avLst/>
        </a:prstGeom>
        <a:solidFill>
          <a:srgbClr val="004E6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latin typeface="+mn-lt"/>
              <a:cs typeface="Times New Roman" pitchFamily="18" charset="0"/>
            </a:rPr>
            <a:t>Отменены </a:t>
          </a:r>
          <a:r>
            <a:rPr lang="en-US" sz="1600" kern="1200" dirty="0" err="1">
              <a:latin typeface="+mn-lt"/>
              <a:cs typeface="Times New Roman" pitchFamily="18" charset="0"/>
            </a:rPr>
            <a:t>решениями</a:t>
          </a:r>
          <a:r>
            <a:rPr lang="en-US" sz="1600" kern="1200" dirty="0">
              <a:latin typeface="+mn-lt"/>
              <a:cs typeface="Times New Roman" pitchFamily="18" charset="0"/>
            </a:rPr>
            <a:t> </a:t>
          </a:r>
          <a:r>
            <a:rPr lang="ru-RU" sz="1600" kern="1200" dirty="0">
              <a:latin typeface="+mn-lt"/>
              <a:cs typeface="Times New Roman" pitchFamily="18" charset="0"/>
            </a:rPr>
            <a:t>МГС.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latin typeface="+mn-lt"/>
              <a:cs typeface="Times New Roman" pitchFamily="18" charset="0"/>
            </a:rPr>
            <a:t>Инициирована отмена на территории РФ</a:t>
          </a:r>
          <a:endParaRPr lang="ru-RU" sz="1600" kern="1200" dirty="0">
            <a:latin typeface="+mn-lt"/>
          </a:endParaRPr>
        </a:p>
      </dsp:txBody>
      <dsp:txXfrm>
        <a:off x="7234123" y="794193"/>
        <a:ext cx="3881222" cy="1355971"/>
      </dsp:txXfrm>
    </dsp:sp>
    <dsp:sp modelId="{4ED9EE4D-4725-4B13-AFA4-6109348BFB33}">
      <dsp:nvSpPr>
        <dsp:cNvPr id="0" name=""/>
        <dsp:cNvSpPr/>
      </dsp:nvSpPr>
      <dsp:spPr>
        <a:xfrm rot="16200000">
          <a:off x="2655243" y="-329349"/>
          <a:ext cx="1865141" cy="7153775"/>
        </a:xfrm>
        <a:prstGeom prst="round2SameRect">
          <a:avLst/>
        </a:prstGeom>
        <a:solidFill>
          <a:schemeClr val="accent3">
            <a:lumMod val="20000"/>
            <a:lumOff val="8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ru-RU" sz="1100" b="1" kern="1200" dirty="0">
              <a:latin typeface="+mn-lt"/>
              <a:cs typeface="Times New Roman" pitchFamily="18" charset="0"/>
            </a:rPr>
            <a:t>ГОСТ ИСО Гайд 35 </a:t>
          </a:r>
          <a:r>
            <a:rPr lang="ru-RU" sz="1100" kern="1200" dirty="0">
              <a:latin typeface="+mn-lt"/>
              <a:cs typeface="Times New Roman" pitchFamily="18" charset="0"/>
            </a:rPr>
            <a:t>Стандартные образцы – Руководство по характеризации и оцениванию однородности и стабильности – </a:t>
          </a:r>
          <a:r>
            <a:rPr lang="ru-RU" sz="1100" b="1" kern="1200" dirty="0">
              <a:solidFill>
                <a:srgbClr val="FF0000"/>
              </a:solidFill>
              <a:latin typeface="+mn-lt"/>
              <a:cs typeface="Times New Roman" pitchFamily="18" charset="0"/>
            </a:rPr>
            <a:t>Работы приостановлены</a:t>
          </a:r>
          <a:endParaRPr lang="ru-RU" sz="1100" b="1" kern="1200" dirty="0">
            <a:solidFill>
              <a:srgbClr val="FF0000"/>
            </a:solidFill>
            <a:latin typeface="+mn-lt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100" b="1" kern="1200" dirty="0">
              <a:latin typeface="+mn-lt"/>
              <a:cs typeface="Times New Roman" pitchFamily="18" charset="0"/>
            </a:rPr>
            <a:t>ГОСТ 8.531 </a:t>
          </a:r>
          <a:r>
            <a:rPr lang="ru-RU" sz="1100" kern="1200" dirty="0">
              <a:latin typeface="+mn-lt"/>
              <a:cs typeface="Times New Roman" pitchFamily="18" charset="0"/>
            </a:rPr>
            <a:t>ГСИ. Стандартные образцы состава монолитных и дисперсных материалов. Способы оценивания однородности</a:t>
          </a:r>
          <a:endParaRPr lang="en-US" sz="1100" kern="1200" dirty="0">
            <a:latin typeface="+mn-lt"/>
            <a:cs typeface="Times New Roman" pitchFamily="18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100" b="1" kern="1200" dirty="0">
              <a:latin typeface="+mn-lt"/>
              <a:cs typeface="Times New Roman" pitchFamily="18" charset="0"/>
            </a:rPr>
            <a:t>Р 50.2.031</a:t>
          </a:r>
          <a:r>
            <a:rPr lang="en-US" sz="1100" b="1" kern="1200" dirty="0">
              <a:latin typeface="+mn-lt"/>
              <a:cs typeface="Times New Roman" pitchFamily="18" charset="0"/>
            </a:rPr>
            <a:t> </a:t>
          </a:r>
          <a:r>
            <a:rPr lang="en-US" sz="1100" kern="1200" dirty="0">
              <a:latin typeface="+mn-lt"/>
              <a:cs typeface="Times New Roman" pitchFamily="18" charset="0"/>
            </a:rPr>
            <a:t>ГСИ. </a:t>
          </a:r>
          <a:r>
            <a:rPr lang="ru-RU" sz="1100" kern="1200" dirty="0">
              <a:latin typeface="+mn-lt"/>
              <a:cs typeface="Times New Roman" pitchFamily="18" charset="0"/>
            </a:rPr>
            <a:t>Стандартные образцы состава и свойств веществ и материалов</a:t>
          </a:r>
          <a:r>
            <a:rPr lang="en-US" sz="1100" kern="1200" dirty="0">
              <a:latin typeface="+mn-lt"/>
              <a:cs typeface="Times New Roman" pitchFamily="18" charset="0"/>
            </a:rPr>
            <a:t>. </a:t>
          </a:r>
          <a:r>
            <a:rPr lang="ru-RU" sz="1100" kern="1200" dirty="0">
              <a:latin typeface="+mn-lt"/>
              <a:cs typeface="Times New Roman" pitchFamily="18" charset="0"/>
            </a:rPr>
            <a:t>Методика оценивания характеристики стабильности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100" b="1" kern="1200" dirty="0">
              <a:latin typeface="+mn-lt"/>
              <a:cs typeface="Times New Roman" pitchFamily="18" charset="0"/>
            </a:rPr>
            <a:t>ГОСТ 8.532 </a:t>
          </a:r>
          <a:r>
            <a:rPr lang="ru-RU" sz="1100" kern="1200" dirty="0">
              <a:latin typeface="+mn-lt"/>
              <a:cs typeface="Times New Roman" pitchFamily="18" charset="0"/>
            </a:rPr>
            <a:t>ГСИ. Стандартные образцы состава веществ и материалов. Межлабораторная метрологическая аттестация.</a:t>
          </a:r>
        </a:p>
      </dsp:txBody>
      <dsp:txXfrm rot="5400000">
        <a:off x="101976" y="2406016"/>
        <a:ext cx="7062726" cy="1683043"/>
      </dsp:txXfrm>
    </dsp:sp>
    <dsp:sp modelId="{FA4F5111-480D-43A8-88B4-E25E7363AE26}">
      <dsp:nvSpPr>
        <dsp:cNvPr id="0" name=""/>
        <dsp:cNvSpPr/>
      </dsp:nvSpPr>
      <dsp:spPr>
        <a:xfrm>
          <a:off x="7164701" y="2307889"/>
          <a:ext cx="4023998" cy="1879296"/>
        </a:xfrm>
        <a:prstGeom prst="roundRect">
          <a:avLst/>
        </a:prstGeom>
        <a:solidFill>
          <a:srgbClr val="004E6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latin typeface="+mn-lt"/>
              <a:cs typeface="Times New Roman" pitchFamily="18" charset="0"/>
            </a:rPr>
            <a:t>Пересмотр – актуализация алгоритмов</a:t>
          </a:r>
        </a:p>
      </dsp:txBody>
      <dsp:txXfrm>
        <a:off x="7256441" y="2399629"/>
        <a:ext cx="3840518" cy="1695816"/>
      </dsp:txXfrm>
    </dsp:sp>
    <dsp:sp modelId="{92AF9827-2EB4-4277-B9B0-DC559993F063}">
      <dsp:nvSpPr>
        <dsp:cNvPr id="0" name=""/>
        <dsp:cNvSpPr/>
      </dsp:nvSpPr>
      <dsp:spPr>
        <a:xfrm rot="16200000">
          <a:off x="2817396" y="1429039"/>
          <a:ext cx="1547242" cy="7160768"/>
        </a:xfrm>
        <a:prstGeom prst="round2SameRect">
          <a:avLst/>
        </a:prstGeom>
        <a:solidFill>
          <a:schemeClr val="accent3">
            <a:lumMod val="20000"/>
            <a:lumOff val="8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i="0" kern="1200" dirty="0">
              <a:latin typeface="+mn-lt"/>
            </a:rPr>
            <a:t>ISO</a:t>
          </a:r>
          <a:r>
            <a:rPr lang="ru-RU" sz="1200" b="1" i="0" kern="1200" dirty="0">
              <a:latin typeface="+mn-lt"/>
            </a:rPr>
            <a:t> 33401 </a:t>
          </a:r>
          <a:r>
            <a:rPr lang="ru-RU" sz="1200" b="0" i="0" kern="1200" dirty="0">
              <a:latin typeface="+mn-lt"/>
            </a:rPr>
            <a:t>Стандартные образцы. Содержание сертификатов, этикеток и сопроводительной документации (</a:t>
          </a:r>
          <a:r>
            <a:rPr lang="en-US" sz="1200" b="0" i="1" kern="1200" dirty="0">
              <a:latin typeface="+mn-lt"/>
            </a:rPr>
            <a:t>Reference materials — Contents of certificates, labels and accompanying documentation</a:t>
          </a:r>
          <a:r>
            <a:rPr lang="ru-RU" sz="1200" b="0" i="0" kern="1200" dirty="0">
              <a:latin typeface="+mn-lt"/>
            </a:rPr>
            <a:t>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i="0" kern="1200" dirty="0"/>
            <a:t>ISO</a:t>
          </a:r>
          <a:r>
            <a:rPr lang="ru-RU" sz="1200" b="1" i="0" kern="1200" dirty="0"/>
            <a:t> 33403 </a:t>
          </a:r>
          <a:r>
            <a:rPr lang="ru-RU" sz="1200" b="0" i="0" kern="1200" dirty="0"/>
            <a:t>Стандартные образцы. Требования и рекомендации по применению (</a:t>
          </a:r>
          <a:r>
            <a:rPr lang="en-US" sz="1200" b="0" i="1" kern="1200" dirty="0"/>
            <a:t>Reference materials — Requirements and recommendations for use</a:t>
          </a:r>
          <a:r>
            <a:rPr lang="ru-RU" sz="1200" b="0" i="0" kern="1200" dirty="0"/>
            <a:t>)</a:t>
          </a:r>
          <a:endParaRPr lang="ru-RU" sz="1200" b="0" i="0" kern="1200" dirty="0">
            <a:latin typeface="+mn-lt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kern="1200" dirty="0"/>
            <a:t>ISO</a:t>
          </a:r>
          <a:r>
            <a:rPr lang="ru-RU" sz="1200" b="1" kern="1200" dirty="0"/>
            <a:t> 33407 </a:t>
          </a:r>
          <a:r>
            <a:rPr lang="ru-RU" sz="1200" b="0" kern="1200" dirty="0"/>
            <a:t>Руководство по производству сертифицированных стандартных образцов чистых органических веществ (</a:t>
          </a:r>
          <a:r>
            <a:rPr lang="en-US" sz="1200" b="0" i="1" kern="1200" dirty="0"/>
            <a:t>Guidance for the production of pure organic substance certified reference materials</a:t>
          </a:r>
          <a:r>
            <a:rPr lang="ru-RU" sz="1200" b="0" i="1" kern="1200" dirty="0"/>
            <a:t>)</a:t>
          </a:r>
          <a:endParaRPr lang="ru-RU" sz="1200" b="0" i="0" kern="1200" dirty="0">
            <a:latin typeface="+mn-lt"/>
          </a:endParaRPr>
        </a:p>
      </dsp:txBody>
      <dsp:txXfrm rot="5400000">
        <a:off x="86163" y="4311332"/>
        <a:ext cx="7085238" cy="1396182"/>
      </dsp:txXfrm>
    </dsp:sp>
    <dsp:sp modelId="{16CB1D80-65F2-446D-992A-B33924145583}">
      <dsp:nvSpPr>
        <dsp:cNvPr id="0" name=""/>
        <dsp:cNvSpPr/>
      </dsp:nvSpPr>
      <dsp:spPr>
        <a:xfrm>
          <a:off x="7139428" y="4307803"/>
          <a:ext cx="4027932" cy="1157562"/>
        </a:xfrm>
        <a:prstGeom prst="roundRect">
          <a:avLst/>
        </a:prstGeom>
        <a:solidFill>
          <a:srgbClr val="004E6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latin typeface="+mn-lt"/>
              <a:cs typeface="Times New Roman" pitchFamily="18" charset="0"/>
            </a:rPr>
            <a:t>Перевод международных стандартов на русский язык и официальная регистрация перевода</a:t>
          </a:r>
        </a:p>
      </dsp:txBody>
      <dsp:txXfrm>
        <a:off x="7195936" y="4364311"/>
        <a:ext cx="3914916" cy="104454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908D46-0580-410D-BF82-DBA3019C1C96}">
      <dsp:nvSpPr>
        <dsp:cNvPr id="0" name=""/>
        <dsp:cNvSpPr/>
      </dsp:nvSpPr>
      <dsp:spPr>
        <a:xfrm>
          <a:off x="0" y="0"/>
          <a:ext cx="8456995" cy="838120"/>
        </a:xfrm>
        <a:prstGeom prst="rect">
          <a:avLst/>
        </a:prstGeom>
        <a:solidFill>
          <a:schemeClr val="accent5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softEdge rad="0"/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780" tIns="144780" rIns="144780" bIns="144780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800" kern="1200" dirty="0">
              <a:latin typeface="+mj-lt"/>
            </a:rPr>
            <a:t>Аккредитация в НСА</a:t>
          </a:r>
        </a:p>
      </dsp:txBody>
      <dsp:txXfrm>
        <a:off x="0" y="0"/>
        <a:ext cx="8456995" cy="838120"/>
      </dsp:txXfrm>
    </dsp:sp>
    <dsp:sp modelId="{D2255599-8653-42D5-B4CD-A8F5683094AB}">
      <dsp:nvSpPr>
        <dsp:cNvPr id="0" name=""/>
        <dsp:cNvSpPr/>
      </dsp:nvSpPr>
      <dsp:spPr>
        <a:xfrm>
          <a:off x="13727" y="1033990"/>
          <a:ext cx="2360790" cy="841615"/>
        </a:xfrm>
        <a:prstGeom prst="rect">
          <a:avLst/>
        </a:prstGeom>
        <a:solidFill>
          <a:schemeClr val="accent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Оценка соответствия</a:t>
          </a:r>
        </a:p>
      </dsp:txBody>
      <dsp:txXfrm>
        <a:off x="13727" y="1033990"/>
        <a:ext cx="2360790" cy="841615"/>
      </dsp:txXfrm>
    </dsp:sp>
    <dsp:sp modelId="{E1CBC346-62EA-420C-ACCF-41A23150E402}">
      <dsp:nvSpPr>
        <dsp:cNvPr id="0" name=""/>
        <dsp:cNvSpPr/>
      </dsp:nvSpPr>
      <dsp:spPr>
        <a:xfrm>
          <a:off x="36951" y="2070707"/>
          <a:ext cx="1142641" cy="1664522"/>
        </a:xfrm>
        <a:prstGeom prst="rect">
          <a:avLst/>
        </a:prstGeom>
        <a:solidFill>
          <a:srgbClr val="004E6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Орган по сертифика-ции</a:t>
          </a:r>
        </a:p>
      </dsp:txBody>
      <dsp:txXfrm>
        <a:off x="36951" y="2070707"/>
        <a:ext cx="1142641" cy="1664522"/>
      </dsp:txXfrm>
    </dsp:sp>
    <dsp:sp modelId="{5F68167F-933F-4172-A4D7-6F6CE325B3D1}">
      <dsp:nvSpPr>
        <dsp:cNvPr id="0" name=""/>
        <dsp:cNvSpPr/>
      </dsp:nvSpPr>
      <dsp:spPr>
        <a:xfrm>
          <a:off x="27742" y="3930331"/>
          <a:ext cx="1142641" cy="662546"/>
        </a:xfrm>
        <a:prstGeom prst="rect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/>
            <a:t>RA.RU.</a:t>
          </a:r>
          <a:br>
            <a:rPr lang="ru-RU" sz="1200" kern="1200" dirty="0"/>
          </a:br>
          <a:r>
            <a:rPr lang="ru-RU" sz="1200" kern="1200" dirty="0"/>
            <a:t>11AЮ42</a:t>
          </a:r>
        </a:p>
      </dsp:txBody>
      <dsp:txXfrm>
        <a:off x="27742" y="3930331"/>
        <a:ext cx="1142641" cy="662546"/>
      </dsp:txXfrm>
    </dsp:sp>
    <dsp:sp modelId="{5551053A-5DB3-4192-8AC4-90940E0FBC18}">
      <dsp:nvSpPr>
        <dsp:cNvPr id="0" name=""/>
        <dsp:cNvSpPr/>
      </dsp:nvSpPr>
      <dsp:spPr>
        <a:xfrm>
          <a:off x="27742" y="4787979"/>
          <a:ext cx="1142641" cy="512872"/>
        </a:xfrm>
        <a:prstGeom prst="roundRect">
          <a:avLst/>
        </a:prstGeom>
        <a:solidFill>
          <a:schemeClr val="accent3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latin typeface="+mj-lt"/>
            </a:rPr>
            <a:t>66 поз.ОА</a:t>
          </a:r>
        </a:p>
      </dsp:txBody>
      <dsp:txXfrm>
        <a:off x="52778" y="4813015"/>
        <a:ext cx="1092569" cy="462800"/>
      </dsp:txXfrm>
    </dsp:sp>
    <dsp:sp modelId="{A49620BC-2220-4885-A334-E204AF06D23F}">
      <dsp:nvSpPr>
        <dsp:cNvPr id="0" name=""/>
        <dsp:cNvSpPr/>
      </dsp:nvSpPr>
      <dsp:spPr>
        <a:xfrm>
          <a:off x="1227071" y="2070707"/>
          <a:ext cx="1142641" cy="1664522"/>
        </a:xfrm>
        <a:prstGeom prst="rect">
          <a:avLst/>
        </a:prstGeom>
        <a:solidFill>
          <a:srgbClr val="004E6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Провайдер МСИ</a:t>
          </a:r>
        </a:p>
      </dsp:txBody>
      <dsp:txXfrm>
        <a:off x="1227071" y="2070707"/>
        <a:ext cx="1142641" cy="1664522"/>
      </dsp:txXfrm>
    </dsp:sp>
    <dsp:sp modelId="{C6A5189C-4A84-41E7-BCB3-462D1FC24D12}">
      <dsp:nvSpPr>
        <dsp:cNvPr id="0" name=""/>
        <dsp:cNvSpPr/>
      </dsp:nvSpPr>
      <dsp:spPr>
        <a:xfrm>
          <a:off x="1217861" y="3930331"/>
          <a:ext cx="1142641" cy="662546"/>
        </a:xfrm>
        <a:prstGeom prst="rect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/>
            <a:t>RA.RU.</a:t>
          </a:r>
          <a:br>
            <a:rPr lang="ru-RU" sz="1200" kern="1200" dirty="0"/>
          </a:br>
          <a:r>
            <a:rPr lang="ru-RU" sz="1200" kern="1200" dirty="0"/>
            <a:t>430158</a:t>
          </a:r>
        </a:p>
      </dsp:txBody>
      <dsp:txXfrm>
        <a:off x="1217861" y="3930331"/>
        <a:ext cx="1142641" cy="662546"/>
      </dsp:txXfrm>
    </dsp:sp>
    <dsp:sp modelId="{CD91BE6D-6FF9-4C3F-907A-416A62ADE6E2}">
      <dsp:nvSpPr>
        <dsp:cNvPr id="0" name=""/>
        <dsp:cNvSpPr/>
      </dsp:nvSpPr>
      <dsp:spPr>
        <a:xfrm>
          <a:off x="1217861" y="4787979"/>
          <a:ext cx="1142641" cy="512872"/>
        </a:xfrm>
        <a:prstGeom prst="roundRect">
          <a:avLst/>
        </a:prstGeom>
        <a:solidFill>
          <a:schemeClr val="accent3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60 поз.ОА</a:t>
          </a:r>
        </a:p>
      </dsp:txBody>
      <dsp:txXfrm>
        <a:off x="1242897" y="4813015"/>
        <a:ext cx="1092569" cy="462800"/>
      </dsp:txXfrm>
    </dsp:sp>
    <dsp:sp modelId="{BAC4AE3E-D08F-4727-B9A3-CC4CBF71E578}">
      <dsp:nvSpPr>
        <dsp:cNvPr id="0" name=""/>
        <dsp:cNvSpPr/>
      </dsp:nvSpPr>
      <dsp:spPr>
        <a:xfrm>
          <a:off x="2471347" y="1033990"/>
          <a:ext cx="5974622" cy="841615"/>
        </a:xfrm>
        <a:prstGeom prst="rect">
          <a:avLst/>
        </a:prstGeom>
        <a:solidFill>
          <a:schemeClr val="accent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0" kern="1200" dirty="0">
              <a:latin typeface="+mj-lt"/>
            </a:rPr>
            <a:t>Обеспечение единства измерений</a:t>
          </a:r>
        </a:p>
      </dsp:txBody>
      <dsp:txXfrm>
        <a:off x="2471347" y="1033990"/>
        <a:ext cx="5974622" cy="841615"/>
      </dsp:txXfrm>
    </dsp:sp>
    <dsp:sp modelId="{F84C305B-830A-4B17-983C-73795E31F6DD}">
      <dsp:nvSpPr>
        <dsp:cNvPr id="0" name=""/>
        <dsp:cNvSpPr/>
      </dsp:nvSpPr>
      <dsp:spPr>
        <a:xfrm>
          <a:off x="2516309" y="2070707"/>
          <a:ext cx="1142641" cy="1664522"/>
        </a:xfrm>
        <a:prstGeom prst="rect">
          <a:avLst/>
        </a:prstGeom>
        <a:solidFill>
          <a:srgbClr val="004E6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Поверка СИ</a:t>
          </a:r>
        </a:p>
      </dsp:txBody>
      <dsp:txXfrm>
        <a:off x="2516309" y="2070707"/>
        <a:ext cx="1142641" cy="1664522"/>
      </dsp:txXfrm>
    </dsp:sp>
    <dsp:sp modelId="{66B5866B-EAEF-4714-BA6B-02BAE8A238A2}">
      <dsp:nvSpPr>
        <dsp:cNvPr id="0" name=""/>
        <dsp:cNvSpPr/>
      </dsp:nvSpPr>
      <dsp:spPr>
        <a:xfrm>
          <a:off x="2507099" y="3930331"/>
          <a:ext cx="1142641" cy="662546"/>
        </a:xfrm>
        <a:prstGeom prst="rect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A.RU.</a:t>
          </a:r>
          <a:br>
            <a:rPr lang="ru-RU" sz="1200" kern="1200" dirty="0"/>
          </a:br>
          <a:r>
            <a:rPr lang="en-US" sz="1200" kern="1200" dirty="0"/>
            <a:t>311473</a:t>
          </a:r>
          <a:endParaRPr lang="ru-RU" sz="1200" kern="1200" dirty="0"/>
        </a:p>
      </dsp:txBody>
      <dsp:txXfrm>
        <a:off x="2507099" y="3930331"/>
        <a:ext cx="1142641" cy="662546"/>
      </dsp:txXfrm>
    </dsp:sp>
    <dsp:sp modelId="{6E1734B3-637B-4774-9150-609D38A59EFF}">
      <dsp:nvSpPr>
        <dsp:cNvPr id="0" name=""/>
        <dsp:cNvSpPr/>
      </dsp:nvSpPr>
      <dsp:spPr>
        <a:xfrm>
          <a:off x="2507099" y="4787979"/>
          <a:ext cx="1142641" cy="512872"/>
        </a:xfrm>
        <a:prstGeom prst="roundRect">
          <a:avLst/>
        </a:prstGeom>
        <a:solidFill>
          <a:schemeClr val="accent3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152 поз.ОА</a:t>
          </a:r>
        </a:p>
      </dsp:txBody>
      <dsp:txXfrm>
        <a:off x="2532135" y="4813015"/>
        <a:ext cx="1092569" cy="462800"/>
      </dsp:txXfrm>
    </dsp:sp>
    <dsp:sp modelId="{332BF639-B21F-4F7E-AED3-AAA5096ECA29}">
      <dsp:nvSpPr>
        <dsp:cNvPr id="0" name=""/>
        <dsp:cNvSpPr/>
      </dsp:nvSpPr>
      <dsp:spPr>
        <a:xfrm>
          <a:off x="3706428" y="2070707"/>
          <a:ext cx="1142641" cy="1664522"/>
        </a:xfrm>
        <a:prstGeom prst="rect">
          <a:avLst/>
        </a:prstGeom>
        <a:solidFill>
          <a:srgbClr val="004E6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49530" rIns="49530" bIns="49530" numCol="1" spcCol="1270" anchor="ctr" anchorCtr="0">
          <a:noAutofit/>
        </a:bodyPr>
        <a:lstStyle/>
        <a:p>
          <a:pPr marL="0" lvl="0" indent="0" algn="ctr" defTabSz="82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Калибровка СИ</a:t>
          </a:r>
        </a:p>
      </dsp:txBody>
      <dsp:txXfrm>
        <a:off x="3706428" y="2070707"/>
        <a:ext cx="1142641" cy="1664522"/>
      </dsp:txXfrm>
    </dsp:sp>
    <dsp:sp modelId="{199D9393-D571-4D11-93CA-0D1F9E35E890}">
      <dsp:nvSpPr>
        <dsp:cNvPr id="0" name=""/>
        <dsp:cNvSpPr/>
      </dsp:nvSpPr>
      <dsp:spPr>
        <a:xfrm>
          <a:off x="3697219" y="3930331"/>
          <a:ext cx="1142641" cy="662546"/>
        </a:xfrm>
        <a:prstGeom prst="rect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/>
            <a:t>RA.RU.</a:t>
          </a:r>
          <a:br>
            <a:rPr lang="ru-RU" sz="1200" kern="1200" dirty="0"/>
          </a:br>
          <a:r>
            <a:rPr lang="ru-RU" sz="1200" kern="1200" dirty="0"/>
            <a:t>311975</a:t>
          </a:r>
        </a:p>
      </dsp:txBody>
      <dsp:txXfrm>
        <a:off x="3697219" y="3930331"/>
        <a:ext cx="1142641" cy="662546"/>
      </dsp:txXfrm>
    </dsp:sp>
    <dsp:sp modelId="{D77ABBDD-D4F3-4868-9BF6-2EAD03AFC503}">
      <dsp:nvSpPr>
        <dsp:cNvPr id="0" name=""/>
        <dsp:cNvSpPr/>
      </dsp:nvSpPr>
      <dsp:spPr>
        <a:xfrm>
          <a:off x="3697219" y="4787979"/>
          <a:ext cx="1142641" cy="512872"/>
        </a:xfrm>
        <a:prstGeom prst="roundRect">
          <a:avLst/>
        </a:prstGeom>
        <a:solidFill>
          <a:schemeClr val="accent3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177 поз.ОА</a:t>
          </a:r>
        </a:p>
      </dsp:txBody>
      <dsp:txXfrm>
        <a:off x="3722255" y="4813015"/>
        <a:ext cx="1092569" cy="462800"/>
      </dsp:txXfrm>
    </dsp:sp>
    <dsp:sp modelId="{5FEBF4B0-5352-4CF4-BA94-B97ECABD31DF}">
      <dsp:nvSpPr>
        <dsp:cNvPr id="0" name=""/>
        <dsp:cNvSpPr/>
      </dsp:nvSpPr>
      <dsp:spPr>
        <a:xfrm>
          <a:off x="4896547" y="2070707"/>
          <a:ext cx="1142641" cy="1664522"/>
        </a:xfrm>
        <a:prstGeom prst="rect">
          <a:avLst/>
        </a:prstGeom>
        <a:solidFill>
          <a:srgbClr val="004E6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9530" rIns="0" bIns="49530" numCol="1" spcCol="1270" anchor="ctr" anchorCtr="0">
          <a:noAutofit/>
        </a:bodyPr>
        <a:lstStyle/>
        <a:p>
          <a:pPr marL="39688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Испытания СИ в целях утверждения типа</a:t>
          </a:r>
        </a:p>
      </dsp:txBody>
      <dsp:txXfrm>
        <a:off x="4896547" y="2070707"/>
        <a:ext cx="1142641" cy="1664522"/>
      </dsp:txXfrm>
    </dsp:sp>
    <dsp:sp modelId="{F27E07BE-8E9C-431A-A43B-42D6237C2CC2}">
      <dsp:nvSpPr>
        <dsp:cNvPr id="0" name=""/>
        <dsp:cNvSpPr/>
      </dsp:nvSpPr>
      <dsp:spPr>
        <a:xfrm>
          <a:off x="4887338" y="3930331"/>
          <a:ext cx="1142641" cy="662546"/>
        </a:xfrm>
        <a:prstGeom prst="rect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/>
            <a:t>RA.RU.</a:t>
          </a:r>
          <a:br>
            <a:rPr lang="ru-RU" sz="1200" kern="1200" dirty="0"/>
          </a:br>
          <a:r>
            <a:rPr lang="ru-RU" sz="1200" kern="1200" dirty="0"/>
            <a:t>31137</a:t>
          </a:r>
        </a:p>
      </dsp:txBody>
      <dsp:txXfrm>
        <a:off x="4887338" y="3930331"/>
        <a:ext cx="1142641" cy="662546"/>
      </dsp:txXfrm>
    </dsp:sp>
    <dsp:sp modelId="{B03FD510-0FFB-4099-AA24-125136653E34}">
      <dsp:nvSpPr>
        <dsp:cNvPr id="0" name=""/>
        <dsp:cNvSpPr/>
      </dsp:nvSpPr>
      <dsp:spPr>
        <a:xfrm>
          <a:off x="4887338" y="4787979"/>
          <a:ext cx="1142641" cy="512872"/>
        </a:xfrm>
        <a:prstGeom prst="roundRect">
          <a:avLst/>
        </a:prstGeom>
        <a:solidFill>
          <a:schemeClr val="accent3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129 поз.ОА</a:t>
          </a:r>
        </a:p>
      </dsp:txBody>
      <dsp:txXfrm>
        <a:off x="4912374" y="4813015"/>
        <a:ext cx="1092569" cy="462800"/>
      </dsp:txXfrm>
    </dsp:sp>
    <dsp:sp modelId="{1606090A-CBF6-4560-9564-C8F771C24059}">
      <dsp:nvSpPr>
        <dsp:cNvPr id="0" name=""/>
        <dsp:cNvSpPr/>
      </dsp:nvSpPr>
      <dsp:spPr>
        <a:xfrm>
          <a:off x="6091208" y="2070707"/>
          <a:ext cx="1115137" cy="1664522"/>
        </a:xfrm>
        <a:prstGeom prst="rect">
          <a:avLst/>
        </a:prstGeom>
        <a:solidFill>
          <a:srgbClr val="004E6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9530" rIns="0" bIns="49530" numCol="1" spcCol="1270" anchor="ctr" anchorCtr="0">
          <a:noAutofit/>
        </a:bodyPr>
        <a:lstStyle/>
        <a:p>
          <a:pPr marL="49213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Испытания СО в целях утверждения типа</a:t>
          </a:r>
        </a:p>
      </dsp:txBody>
      <dsp:txXfrm>
        <a:off x="6091208" y="2070707"/>
        <a:ext cx="1115137" cy="1664522"/>
      </dsp:txXfrm>
    </dsp:sp>
    <dsp:sp modelId="{860D0C41-7D91-40FF-9359-5816749CC2C3}">
      <dsp:nvSpPr>
        <dsp:cNvPr id="0" name=""/>
        <dsp:cNvSpPr/>
      </dsp:nvSpPr>
      <dsp:spPr>
        <a:xfrm>
          <a:off x="6077457" y="3930331"/>
          <a:ext cx="1142641" cy="662546"/>
        </a:xfrm>
        <a:prstGeom prst="rect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/>
            <a:t>POCC RU.0001.</a:t>
          </a:r>
          <a:br>
            <a:rPr lang="ru-RU" sz="1200" kern="1200" dirty="0"/>
          </a:br>
          <a:r>
            <a:rPr lang="ru-RU" sz="1200" kern="1200" dirty="0"/>
            <a:t>310442</a:t>
          </a:r>
        </a:p>
      </dsp:txBody>
      <dsp:txXfrm>
        <a:off x="6077457" y="3930331"/>
        <a:ext cx="1142641" cy="662546"/>
      </dsp:txXfrm>
    </dsp:sp>
    <dsp:sp modelId="{0E6A2259-CCE2-4F72-BC94-F90ED870164F}">
      <dsp:nvSpPr>
        <dsp:cNvPr id="0" name=""/>
        <dsp:cNvSpPr/>
      </dsp:nvSpPr>
      <dsp:spPr>
        <a:xfrm>
          <a:off x="6077457" y="4787979"/>
          <a:ext cx="1142641" cy="512872"/>
        </a:xfrm>
        <a:prstGeom prst="roundRect">
          <a:avLst/>
        </a:prstGeom>
        <a:solidFill>
          <a:schemeClr val="accent3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102 поз.ОА</a:t>
          </a:r>
        </a:p>
      </dsp:txBody>
      <dsp:txXfrm>
        <a:off x="6102493" y="4813015"/>
        <a:ext cx="1092569" cy="462800"/>
      </dsp:txXfrm>
    </dsp:sp>
    <dsp:sp modelId="{D115008D-D7CB-4647-802F-BD4521421C14}">
      <dsp:nvSpPr>
        <dsp:cNvPr id="0" name=""/>
        <dsp:cNvSpPr/>
      </dsp:nvSpPr>
      <dsp:spPr>
        <a:xfrm>
          <a:off x="7267576" y="2070707"/>
          <a:ext cx="1142641" cy="1664522"/>
        </a:xfrm>
        <a:prstGeom prst="rect">
          <a:avLst/>
        </a:prstGeom>
        <a:solidFill>
          <a:srgbClr val="004E6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9530" rIns="0" bIns="49530" numCol="1" spcCol="1270" anchor="ctr" anchorCtr="0">
          <a:noAutofit/>
        </a:bodyPr>
        <a:lstStyle/>
        <a:p>
          <a:pPr marL="39688" lvl="0" indent="0" algn="ctr" defTabSz="1073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Аттестация методик измерений и метрологическая экспертиза</a:t>
          </a:r>
        </a:p>
      </dsp:txBody>
      <dsp:txXfrm>
        <a:off x="7267576" y="2070707"/>
        <a:ext cx="1142641" cy="1664522"/>
      </dsp:txXfrm>
    </dsp:sp>
    <dsp:sp modelId="{EF41AA96-9146-4D8D-BEC7-DF18E6370906}">
      <dsp:nvSpPr>
        <dsp:cNvPr id="0" name=""/>
        <dsp:cNvSpPr/>
      </dsp:nvSpPr>
      <dsp:spPr>
        <a:xfrm>
          <a:off x="7267576" y="3930331"/>
          <a:ext cx="1142641" cy="662546"/>
        </a:xfrm>
        <a:prstGeom prst="rect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/>
            <a:t>RA.RU.</a:t>
          </a:r>
          <a:br>
            <a:rPr lang="ru-RU" sz="1200" kern="1200" dirty="0"/>
          </a:br>
          <a:r>
            <a:rPr lang="ru-RU" sz="1200" kern="1200" dirty="0"/>
            <a:t>311866</a:t>
          </a:r>
        </a:p>
      </dsp:txBody>
      <dsp:txXfrm>
        <a:off x="7267576" y="3930331"/>
        <a:ext cx="1142641" cy="662546"/>
      </dsp:txXfrm>
    </dsp:sp>
    <dsp:sp modelId="{44BD1967-3E34-4716-8289-46054D7A91BC}">
      <dsp:nvSpPr>
        <dsp:cNvPr id="0" name=""/>
        <dsp:cNvSpPr/>
      </dsp:nvSpPr>
      <dsp:spPr>
        <a:xfrm>
          <a:off x="7267576" y="4787979"/>
          <a:ext cx="1142641" cy="512872"/>
        </a:xfrm>
        <a:prstGeom prst="roundRect">
          <a:avLst/>
        </a:prstGeom>
        <a:solidFill>
          <a:schemeClr val="accent3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10 поз.ОА</a:t>
          </a:r>
        </a:p>
      </dsp:txBody>
      <dsp:txXfrm>
        <a:off x="7292612" y="4813015"/>
        <a:ext cx="1092569" cy="462800"/>
      </dsp:txXfrm>
    </dsp:sp>
    <dsp:sp modelId="{6CB645E4-165D-4F7D-91EB-E32C1DA6695D}">
      <dsp:nvSpPr>
        <dsp:cNvPr id="0" name=""/>
        <dsp:cNvSpPr/>
      </dsp:nvSpPr>
      <dsp:spPr>
        <a:xfrm>
          <a:off x="8649561" y="768"/>
          <a:ext cx="2445712" cy="838120"/>
        </a:xfrm>
        <a:prstGeom prst="rect">
          <a:avLst/>
        </a:prstGeom>
        <a:solidFill>
          <a:schemeClr val="accent5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780" tIns="144780" rIns="144780" bIns="144780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/>
            <a:t>COOMET</a:t>
          </a:r>
          <a:endParaRPr lang="ru-RU" sz="3800" kern="1200" dirty="0"/>
        </a:p>
      </dsp:txBody>
      <dsp:txXfrm>
        <a:off x="8649561" y="768"/>
        <a:ext cx="2445712" cy="838120"/>
      </dsp:txXfrm>
    </dsp:sp>
    <dsp:sp modelId="{F3EFB9E2-C90F-4E21-BBFD-749E7C89B8EE}">
      <dsp:nvSpPr>
        <dsp:cNvPr id="0" name=""/>
        <dsp:cNvSpPr/>
      </dsp:nvSpPr>
      <dsp:spPr>
        <a:xfrm>
          <a:off x="8651948" y="1033990"/>
          <a:ext cx="2440938" cy="841615"/>
        </a:xfrm>
        <a:prstGeom prst="rect">
          <a:avLst/>
        </a:prstGeom>
        <a:solidFill>
          <a:schemeClr val="accent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/>
            <a:t>Признание СМК филиала со стороны форума качества</a:t>
          </a:r>
        </a:p>
      </dsp:txBody>
      <dsp:txXfrm>
        <a:off x="8651948" y="1033990"/>
        <a:ext cx="2440938" cy="841615"/>
      </dsp:txXfrm>
    </dsp:sp>
    <dsp:sp modelId="{481BDC1E-D7EB-49C0-8087-641F27121418}">
      <dsp:nvSpPr>
        <dsp:cNvPr id="0" name=""/>
        <dsp:cNvSpPr/>
      </dsp:nvSpPr>
      <dsp:spPr>
        <a:xfrm>
          <a:off x="8656988" y="2070707"/>
          <a:ext cx="1152733" cy="1664522"/>
        </a:xfrm>
        <a:prstGeom prst="rect">
          <a:avLst/>
        </a:prstGeom>
        <a:solidFill>
          <a:srgbClr val="004E6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b="0" i="0" kern="1200" dirty="0"/>
            <a:t>Калибровка СИ </a:t>
          </a:r>
          <a:r>
            <a:rPr lang="en-US" sz="1300" b="0" i="0" kern="1200" dirty="0"/>
            <a:t>ISO/IEC 17025</a:t>
          </a:r>
          <a:endParaRPr lang="ru-RU" sz="1300" b="0" kern="1200" dirty="0"/>
        </a:p>
      </dsp:txBody>
      <dsp:txXfrm>
        <a:off x="8656988" y="2070707"/>
        <a:ext cx="1152733" cy="1664522"/>
      </dsp:txXfrm>
    </dsp:sp>
    <dsp:sp modelId="{74863A0D-B3D5-4C02-874A-C6FED0DD3447}">
      <dsp:nvSpPr>
        <dsp:cNvPr id="0" name=""/>
        <dsp:cNvSpPr/>
      </dsp:nvSpPr>
      <dsp:spPr>
        <a:xfrm>
          <a:off x="8656988" y="3930331"/>
          <a:ext cx="1152733" cy="662546"/>
        </a:xfrm>
        <a:prstGeom prst="rect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i="0" kern="1200" dirty="0"/>
            <a:t>QSF–R79</a:t>
          </a:r>
          <a:endParaRPr lang="ru-RU" sz="1200" b="0" kern="1200" dirty="0"/>
        </a:p>
      </dsp:txBody>
      <dsp:txXfrm>
        <a:off x="8656988" y="3930331"/>
        <a:ext cx="1152733" cy="662546"/>
      </dsp:txXfrm>
    </dsp:sp>
    <dsp:sp modelId="{8C1A5F67-FAC0-470F-AB23-4BD8D82C2753}">
      <dsp:nvSpPr>
        <dsp:cNvPr id="0" name=""/>
        <dsp:cNvSpPr/>
      </dsp:nvSpPr>
      <dsp:spPr>
        <a:xfrm>
          <a:off x="9857199" y="2070707"/>
          <a:ext cx="1230646" cy="1664522"/>
        </a:xfrm>
        <a:prstGeom prst="rect">
          <a:avLst/>
        </a:prstGeom>
        <a:solidFill>
          <a:srgbClr val="004E6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49530" rIns="3600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tabLst/>
          </a:pPr>
          <a:r>
            <a:rPr lang="ru-RU" sz="1300" b="0" kern="1200" dirty="0"/>
            <a:t>Производство ССО в соответствии с </a:t>
          </a:r>
          <a:r>
            <a:rPr lang="en-US" sz="1300" b="0" i="0" kern="1200" dirty="0"/>
            <a:t>ISO 17034</a:t>
          </a:r>
          <a:endParaRPr lang="ru-RU" sz="1300" b="0" kern="1200" dirty="0"/>
        </a:p>
      </dsp:txBody>
      <dsp:txXfrm>
        <a:off x="9857199" y="2070707"/>
        <a:ext cx="1230646" cy="1664522"/>
      </dsp:txXfrm>
    </dsp:sp>
    <dsp:sp modelId="{3CA3528E-A79C-4CDC-BB89-C83F92ACC55F}">
      <dsp:nvSpPr>
        <dsp:cNvPr id="0" name=""/>
        <dsp:cNvSpPr/>
      </dsp:nvSpPr>
      <dsp:spPr>
        <a:xfrm>
          <a:off x="9896156" y="3930331"/>
          <a:ext cx="1152733" cy="662546"/>
        </a:xfrm>
        <a:prstGeom prst="rect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i="0" kern="1200" dirty="0"/>
            <a:t>QSF–R80</a:t>
          </a:r>
          <a:endParaRPr lang="ru-RU" sz="1200" b="0" kern="1200" dirty="0"/>
        </a:p>
      </dsp:txBody>
      <dsp:txXfrm>
        <a:off x="9896156" y="3930331"/>
        <a:ext cx="1152733" cy="66254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AB7B33-CE59-4C35-9BA6-4606C94EF69B}">
      <dsp:nvSpPr>
        <dsp:cNvPr id="0" name=""/>
        <dsp:cNvSpPr/>
      </dsp:nvSpPr>
      <dsp:spPr>
        <a:xfrm>
          <a:off x="1253964" y="3288043"/>
          <a:ext cx="1514496" cy="1305760"/>
        </a:xfrm>
        <a:prstGeom prst="hexagon">
          <a:avLst>
            <a:gd name="adj" fmla="val 25000"/>
            <a:gd name="vf" fmla="val 115470"/>
          </a:avLst>
        </a:prstGeom>
        <a:solidFill>
          <a:srgbClr val="004E6B"/>
        </a:solidFill>
        <a:ln w="25400" cap="flat" cmpd="sng" algn="ctr">
          <a:solidFill>
            <a:srgbClr val="004E6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1430" rIns="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kern="1200" dirty="0"/>
            <a:t>Атомная промышленность: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kern="1200" dirty="0"/>
            <a:t>Условия эксплуатации исключают использование табличных значений прочности</a:t>
          </a:r>
        </a:p>
      </dsp:txBody>
      <dsp:txXfrm>
        <a:off x="1488985" y="3490672"/>
        <a:ext cx="1044454" cy="900502"/>
      </dsp:txXfrm>
    </dsp:sp>
    <dsp:sp modelId="{F1BC1F59-2878-4525-BF8B-242253ABB4C5}">
      <dsp:nvSpPr>
        <dsp:cNvPr id="0" name=""/>
        <dsp:cNvSpPr/>
      </dsp:nvSpPr>
      <dsp:spPr>
        <a:xfrm>
          <a:off x="1349648" y="3177884"/>
          <a:ext cx="177320" cy="152827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1BFADB-3F03-41B3-A6E2-6D20AA4EFA23}">
      <dsp:nvSpPr>
        <dsp:cNvPr id="0" name=""/>
        <dsp:cNvSpPr/>
      </dsp:nvSpPr>
      <dsp:spPr>
        <a:xfrm>
          <a:off x="22974" y="2582893"/>
          <a:ext cx="1514496" cy="1305760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1"/>
          <a:srcRect/>
          <a:stretch>
            <a:fillRect l="-15000" r="-15000"/>
          </a:stretch>
        </a:blipFill>
        <a:ln w="25400" cap="flat" cmpd="sng" algn="ctr">
          <a:solidFill>
            <a:srgbClr val="004E6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4711D1E-09F5-4447-BEAF-56EA4BA217DF}">
      <dsp:nvSpPr>
        <dsp:cNvPr id="0" name=""/>
        <dsp:cNvSpPr/>
      </dsp:nvSpPr>
      <dsp:spPr>
        <a:xfrm>
          <a:off x="1550378" y="3337065"/>
          <a:ext cx="177320" cy="152827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BFA288E-7181-4EBE-8996-05B09A0D4361}">
      <dsp:nvSpPr>
        <dsp:cNvPr id="0" name=""/>
        <dsp:cNvSpPr/>
      </dsp:nvSpPr>
      <dsp:spPr>
        <a:xfrm>
          <a:off x="2486412" y="1235728"/>
          <a:ext cx="1514496" cy="1305760"/>
        </a:xfrm>
        <a:prstGeom prst="hexagon">
          <a:avLst>
            <a:gd name="adj" fmla="val 25000"/>
            <a:gd name="vf" fmla="val 115470"/>
          </a:avLst>
        </a:prstGeom>
        <a:solidFill>
          <a:srgbClr val="004E6B"/>
        </a:solidFill>
        <a:ln w="25400" cap="flat" cmpd="sng" algn="ctr">
          <a:solidFill>
            <a:srgbClr val="004E6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1430" rIns="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kern="1200" dirty="0"/>
            <a:t>Строительство и эксплуатация ответственных и высотных сооружений: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kern="1200" dirty="0"/>
            <a:t>Мониторинг обеспечения безопасности</a:t>
          </a:r>
        </a:p>
      </dsp:txBody>
      <dsp:txXfrm>
        <a:off x="2721433" y="1438357"/>
        <a:ext cx="1044454" cy="900502"/>
      </dsp:txXfrm>
    </dsp:sp>
    <dsp:sp modelId="{E4221CE7-E767-4E5D-B366-945213205A95}">
      <dsp:nvSpPr>
        <dsp:cNvPr id="0" name=""/>
        <dsp:cNvSpPr/>
      </dsp:nvSpPr>
      <dsp:spPr>
        <a:xfrm>
          <a:off x="1343200" y="3139614"/>
          <a:ext cx="177320" cy="152827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32702D9-0676-4EC0-9BED-023B2406412A}">
      <dsp:nvSpPr>
        <dsp:cNvPr id="0" name=""/>
        <dsp:cNvSpPr/>
      </dsp:nvSpPr>
      <dsp:spPr>
        <a:xfrm>
          <a:off x="2499917" y="2598941"/>
          <a:ext cx="1514496" cy="1304297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2"/>
          <a:srcRect/>
          <a:stretch>
            <a:fillRect t="-8000" b="-8000"/>
          </a:stretch>
        </a:blipFill>
        <a:ln w="25400" cap="flat" cmpd="sng" algn="ctr">
          <a:solidFill>
            <a:srgbClr val="004E6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AE3F95D-F663-4863-B55E-5CD118C08EDA}">
      <dsp:nvSpPr>
        <dsp:cNvPr id="0" name=""/>
        <dsp:cNvSpPr/>
      </dsp:nvSpPr>
      <dsp:spPr>
        <a:xfrm>
          <a:off x="2776743" y="2634133"/>
          <a:ext cx="177320" cy="152827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DF0DC9-85AE-48F5-B065-439035B819A3}">
      <dsp:nvSpPr>
        <dsp:cNvPr id="0" name=""/>
        <dsp:cNvSpPr/>
      </dsp:nvSpPr>
      <dsp:spPr>
        <a:xfrm>
          <a:off x="6" y="1199804"/>
          <a:ext cx="1514496" cy="1305760"/>
        </a:xfrm>
        <a:prstGeom prst="hexagon">
          <a:avLst>
            <a:gd name="adj" fmla="val 25000"/>
            <a:gd name="vf" fmla="val 115470"/>
          </a:avLst>
        </a:prstGeom>
        <a:solidFill>
          <a:srgbClr val="004E6B"/>
        </a:solidFill>
        <a:ln w="25400" cap="flat" cmpd="sng" algn="ctr">
          <a:solidFill>
            <a:srgbClr val="004E6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1430" rIns="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kern="1200" dirty="0"/>
            <a:t>Химическое машиностроение, авиа- и двигателестроение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kern="1200" dirty="0"/>
            <a:t>Сложные изделия теоретический расчет затруднен, необходимость натурных испытаний</a:t>
          </a:r>
        </a:p>
      </dsp:txBody>
      <dsp:txXfrm>
        <a:off x="235027" y="1402433"/>
        <a:ext cx="1044454" cy="900502"/>
      </dsp:txXfrm>
    </dsp:sp>
    <dsp:sp modelId="{9F58EF31-727D-4EC0-8B62-1F46977749EB}">
      <dsp:nvSpPr>
        <dsp:cNvPr id="0" name=""/>
        <dsp:cNvSpPr/>
      </dsp:nvSpPr>
      <dsp:spPr>
        <a:xfrm>
          <a:off x="2309729" y="1684651"/>
          <a:ext cx="177320" cy="152827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C995AC-C7EA-4A0E-981A-C2A6BB51CDC6}">
      <dsp:nvSpPr>
        <dsp:cNvPr id="0" name=""/>
        <dsp:cNvSpPr/>
      </dsp:nvSpPr>
      <dsp:spPr>
        <a:xfrm>
          <a:off x="1260018" y="542123"/>
          <a:ext cx="1514496" cy="1305760"/>
        </a:xfrm>
        <a:prstGeom prst="hexagon">
          <a:avLst>
            <a:gd name="adj" fmla="val 25000"/>
            <a:gd name="vf" fmla="val 115470"/>
          </a:avLst>
        </a:prstGeom>
        <a:blipFill dpi="0" rotWithShape="1">
          <a:blip xmlns:r="http://schemas.openxmlformats.org/officeDocument/2006/relationships" r:embed="rId3"/>
          <a:srcRect/>
          <a:stretch>
            <a:fillRect l="-18664" t="-9393" r="-18664" b="-9393"/>
          </a:stretch>
        </a:blipFill>
        <a:ln w="25400" cap="flat" cmpd="sng" algn="ctr">
          <a:solidFill>
            <a:srgbClr val="004E6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221E0D7-DB42-4EC8-BF12-AB9F4FF9D911}">
      <dsp:nvSpPr>
        <dsp:cNvPr id="0" name=""/>
        <dsp:cNvSpPr/>
      </dsp:nvSpPr>
      <dsp:spPr>
        <a:xfrm>
          <a:off x="2771198" y="2371993"/>
          <a:ext cx="177320" cy="152827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HexagonCluster">
  <dgm:title val=""/>
  <dgm:desc val=""/>
  <dgm:catLst>
    <dgm:cat type="picture" pri="21000"/>
    <dgm:cat type="relationship" pri="3200"/>
    <dgm:cat type="pictureconvert" pri="21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clrData>
  <dgm:layoutNode name="Name0">
    <dgm:varLst>
      <dgm:chMax val="21"/>
      <dgm:chPref val="21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1.3871"/>
        </dgm:alg>
        <dgm:constrLst>
          <dgm:constr type="primFontSz" for="des" ptType="node" op="equ" val="65"/>
          <dgm:constr type="l" for="ch" forName="text1" refType="w" fact="0.4525"/>
          <dgm:constr type="t" for="ch" forName="text1" refType="h" fact="0.346"/>
          <dgm:constr type="w" for="ch" forName="text1" refType="w" fact="0.5475"/>
          <dgm:constr type="h" for="ch" forName="text1" refType="h" fact="0.654"/>
          <dgm:constr type="l" for="ch" forName="textaccent1" refType="w" fact="0.4652"/>
          <dgm:constr type="t" for="ch" forName="textaccent1" refType="h" fact="0.6348"/>
          <dgm:constr type="w" for="ch" forName="textaccent1" refType="w" fact="0.0639"/>
          <dgm:constr type="h" for="ch" forName="textaccent1" refType="h" fact="0.0765"/>
          <dgm:constr type="l" for="ch" forName="image1" refType="w" fact="0"/>
          <dgm:constr type="t" for="ch" forName="image1" refType="h" fact="0"/>
          <dgm:constr type="w" for="ch" forName="image1" refType="w" fact="0.5468"/>
          <dgm:constr type="h" for="ch" forName="image1" refType="h" fact="0.6538"/>
          <dgm:constr type="l" for="ch" forName="imageaccent1" refType="w" fact="0.3702"/>
          <dgm:constr type="t" for="ch" forName="imageaccent1" refType="h" fact="0.5633"/>
          <dgm:constr type="w" for="ch" forName="imageaccent1" refType="w" fact="0.0639"/>
          <dgm:constr type="h" for="ch" forName="imageaccent1" refType="h" fact="0.0765"/>
        </dgm:constrLst>
      </dgm:if>
      <dgm:if name="Name3" axis="ch" ptType="node" func="cnt" op="equ" val="2">
        <dgm:alg type="composite">
          <dgm:param type="ar" val="2.6443"/>
        </dgm:alg>
        <dgm:constrLst>
          <dgm:constr type="primFontSz" for="des" ptType="node" op="equ" val="65"/>
          <dgm:constr type="l" for="ch" forName="text1" refType="w" fact="0.2383"/>
          <dgm:constr type="t" for="ch" forName="text1" refType="h" fact="0.3501"/>
          <dgm:constr type="w" for="ch" forName="text1" refType="w" fact="0.285"/>
          <dgm:constr type="h" for="ch" forName="text1" refType="h" fact="0.6499"/>
          <dgm:constr type="l" for="ch" forName="textaccent1" refType="w" fact="0.2472"/>
          <dgm:constr type="t" for="ch" forName="textaccent1" refType="h" fact="0.6371"/>
          <dgm:constr type="w" for="ch" forName="textaccent1" refType="w" fact="0.0333"/>
          <dgm:constr type="h" for="ch" forName="textaccent1" refType="h" fact="0.076"/>
          <dgm:constr type="l" for="ch" forName="image1" refType="w" fact="0"/>
          <dgm:constr type="t" for="ch" forName="image1" refType="h" fact="0"/>
          <dgm:constr type="w" for="ch" forName="image1" refType="w" fact="0.285"/>
          <dgm:constr type="h" for="ch" forName="image1" refType="h" fact="0.6499"/>
          <dgm:constr type="l" for="ch" forName="imageaccent1" refType="w" fact="0.1942"/>
          <dgm:constr type="t" for="ch" forName="imageaccent1" refType="h" fact="0.5602"/>
          <dgm:constr type="w" for="ch" forName="imageaccent1" refType="w" fact="0.0333"/>
          <dgm:constr type="h" for="ch" forName="imageaccent1" refType="h" fact="0.076"/>
          <dgm:constr type="l" for="ch" forName="text2" refType="w" fact="0.4767"/>
          <dgm:constr type="t" for="ch" forName="text2" refType="h" fact="0"/>
          <dgm:constr type="w" for="ch" forName="text2" refType="w" fact="0.285"/>
          <dgm:constr type="h" for="ch" forName="text2" refType="h" fact="0.6499"/>
          <dgm:constr type="l" for="ch" forName="textaccent2" refType="w" fact="0.6709"/>
          <dgm:constr type="t" for="ch" forName="textaccent2" refType="h" fact="0.5602"/>
          <dgm:constr type="w" for="ch" forName="textaccent2" refType="w" fact="0.0333"/>
          <dgm:constr type="h" for="ch" forName="textaccent2" refType="h" fact="0.076"/>
          <dgm:constr type="l" for="ch" forName="image2" refType="w" fact="0.715"/>
          <dgm:constr type="t" for="ch" forName="image2" refType="h" fact="0.3501"/>
          <dgm:constr type="w" for="ch" forName="image2" refType="w" fact="0.285"/>
          <dgm:constr type="h" for="ch" forName="image2" refType="h" fact="0.6499"/>
          <dgm:constr type="l" for="ch" forName="imageaccent2" refType="w" fact="0.7239"/>
          <dgm:constr type="t" for="ch" forName="imageaccent2" refType="h" fact="0.6371"/>
          <dgm:constr type="w" for="ch" forName="imageaccent2" refType="w" fact="0.0333"/>
          <dgm:constr type="h" for="ch" forName="imageaccent2" refType="h" fact="0.076"/>
        </dgm:constrLst>
      </dgm:if>
      <dgm:if name="Name4" axis="ch" ptType="node" func="cnt" op="equ" val="3">
        <dgm:alg type="composite">
          <dgm:param type="ar" val="1.5623"/>
        </dgm:alg>
        <dgm:constrLst>
          <dgm:constr type="primFontSz" for="des" ptType="node" op="equ" val="65"/>
          <dgm:constr type="l" for="ch" forName="text1" refType="w" fact="0.2402"/>
          <dgm:constr type="t" for="ch" forName="text1" refType="h" fact="0.6215"/>
          <dgm:constr type="w" for="ch" forName="text1" refType="w" fact="0.281"/>
          <dgm:constr type="h" for="ch" forName="text1" refType="h" fact="0.3785"/>
          <dgm:constr type="l" for="ch" forName="textaccent1" refType="w" fact="0.2475"/>
          <dgm:constr type="t" for="ch" forName="textaccent1" refType="h" fact="0.7886"/>
          <dgm:constr type="w" for="ch" forName="textaccent1" refType="w" fact="0.0329"/>
          <dgm:constr type="h" for="ch" forName="textaccent1" refType="h" fact="0.0443"/>
          <dgm:constr type="l" for="ch" forName="image1" refType="w" fact="0"/>
          <dgm:constr type="t" for="ch" forName="image1" refType="h" fact="0.4182"/>
          <dgm:constr type="w" for="ch" forName="image1" refType="w" fact="0.281"/>
          <dgm:constr type="h" for="ch" forName="image1" refType="h" fact="0.3785"/>
          <dgm:constr type="l" for="ch" forName="imageaccent1" refType="w" fact="0.1913"/>
          <dgm:constr type="t" for="ch" forName="imageaccent1" refType="h" fact="0.7467"/>
          <dgm:constr type="w" for="ch" forName="imageaccent1" refType="w" fact="0.0329"/>
          <dgm:constr type="h" for="ch" forName="imageaccent1" refType="h" fact="0.0443"/>
          <dgm:constr type="l" for="ch" forName="text2" refType="w" fact="0.4796"/>
          <dgm:constr type="t" for="ch" forName="text2" refType="h" fact="0.4137"/>
          <dgm:constr type="w" for="ch" forName="text2" refType="w" fact="0.281"/>
          <dgm:constr type="h" for="ch" forName="text2" refType="h" fact="0.3785"/>
          <dgm:constr type="l" for="ch" forName="textaccent2" refType="w" fact="0.6717"/>
          <dgm:constr type="t" for="ch" forName="textaccent2" refType="h" fact="0.7418"/>
          <dgm:constr type="w" for="ch" forName="textaccent2" refType="w" fact="0.0329"/>
          <dgm:constr type="h" for="ch" forName="textaccent2" refType="h" fact="0.0443"/>
          <dgm:constr type="l" for="ch" forName="image2" refType="w" fact="0.719"/>
          <dgm:constr type="t" for="ch" forName="image2" refType="h" fact="0.6215"/>
          <dgm:constr type="w" for="ch" forName="image2" refType="w" fact="0.281"/>
          <dgm:constr type="h" for="ch" forName="image2" refType="h" fact="0.3785"/>
          <dgm:constr type="l" for="ch" forName="imageaccent2" refType="w" fact="0.7263"/>
          <dgm:constr type="t" for="ch" forName="imageaccent2" refType="h" fact="0.7886"/>
          <dgm:constr type="w" for="ch" forName="imageaccent2" refType="w" fact="0.0329"/>
          <dgm:constr type="h" for="ch" forName="imageaccent2" refType="h" fact="0.0443"/>
          <dgm:constr type="l" for="ch" forName="text3" refType="w" fact="0.2402"/>
          <dgm:constr type="t" for="ch" forName="text3" refType="h" fact="0.2068"/>
          <dgm:constr type="w" for="ch" forName="text3" refType="w" fact="0.281"/>
          <dgm:constr type="h" for="ch" forName="text3" refType="h" fact="0.3785"/>
          <dgm:constr type="l" for="ch" forName="textaccent3" refType="w" fact="0.4307"/>
          <dgm:constr type="t" for="ch" forName="textaccent3" refType="h" fact="0.215"/>
          <dgm:constr type="w" for="ch" forName="textaccent3" refType="w" fact="0.0329"/>
          <dgm:constr type="h" for="ch" forName="textaccent3" refType="h" fact="0.0443"/>
          <dgm:constr type="l" for="ch" forName="image3" refType="w" fact="0.4796"/>
          <dgm:constr type="t" for="ch" forName="image3" refType="h" fact="0"/>
          <dgm:constr type="w" for="ch" forName="image3" refType="w" fact="0.281"/>
          <dgm:constr type="h" for="ch" forName="image3" refType="h" fact="0.3785"/>
          <dgm:constr type="l" for="ch" forName="imageaccent3" refType="w" fact="0.4879"/>
          <dgm:constr type="t" for="ch" forName="imageaccent3" refType="h" fact="0.1662"/>
          <dgm:constr type="w" for="ch" forName="imageaccent3" refType="w" fact="0.0329"/>
          <dgm:constr type="h" for="ch" forName="imageaccent3" refType="h" fact="0.0443"/>
        </dgm:constrLst>
      </dgm:if>
      <dgm:if name="Name5" axis="ch" ptType="node" func="cnt" op="equ" val="4">
        <dgm:alg type="composite">
          <dgm:param type="ar" val="1.943"/>
        </dgm:alg>
        <dgm:constrLst>
          <dgm:constr type="primFontSz" for="des" ptType="node" op="equ" val="65"/>
          <dgm:constr type="l" for="ch" forName="image2" refType="w" fact="0.5787"/>
          <dgm:constr type="t" for="ch" forName="image2" refType="h" fact="0.6208"/>
          <dgm:constr type="w" for="ch" forName="image2" refType="w" fact="0.227"/>
          <dgm:constr type="h" for="ch" forName="image2" refType="h" fact="0.3786"/>
          <dgm:constr type="l" for="ch" forName="text4" refType="w" fact="0.5787"/>
          <dgm:constr type="t" for="ch" forName="text4" refType="h" fact="0.2081"/>
          <dgm:constr type="w" for="ch" forName="text4" refType="w" fact="0.227"/>
          <dgm:constr type="h" for="ch" forName="text4" refType="h" fact="0.3786"/>
          <dgm:constr type="l" for="ch" forName="text2" refType="w" fact="0.3852"/>
          <dgm:constr type="t" for="ch" forName="text2" refType="h" fact="0.4127"/>
          <dgm:constr type="w" for="ch" forName="text2" refType="w" fact="0.227"/>
          <dgm:constr type="h" for="ch" forName="text2" refType="h" fact="0.3786"/>
          <dgm:constr type="l" for="ch" forName="image3" refType="w" fact="0.3852"/>
          <dgm:constr type="t" for="ch" forName="image3" refType="h" fact="0"/>
          <dgm:constr type="w" for="ch" forName="image3" refType="w" fact="0.227"/>
          <dgm:constr type="h" for="ch" forName="image3" refType="h" fact="0.3786"/>
          <dgm:constr type="l" for="ch" forName="text1" refType="w" fact="0.1927"/>
          <dgm:constr type="t" for="ch" forName="text1" refType="h" fact="0.6214"/>
          <dgm:constr type="w" for="ch" forName="text1" refType="w" fact="0.227"/>
          <dgm:constr type="h" for="ch" forName="text1" refType="h" fact="0.3786"/>
          <dgm:constr type="l" for="ch" forName="textaccent1" refType="w" fact="0.1998"/>
          <dgm:constr type="t" for="ch" forName="textaccent1" refType="h" fact="0.7887"/>
          <dgm:constr type="w" for="ch" forName="textaccent1" refType="w" fact="0.0265"/>
          <dgm:constr type="h" for="ch" forName="textaccent1" refType="h" fact="0.0444"/>
          <dgm:constr type="l" for="ch" forName="image1" refType="w" fact="0"/>
          <dgm:constr type="t" for="ch" forName="image1" refType="h" fact="0.4156"/>
          <dgm:constr type="w" for="ch" forName="image1" refType="w" fact="0.227"/>
          <dgm:constr type="h" for="ch" forName="image1" refType="h" fact="0.3786"/>
          <dgm:constr type="l" for="ch" forName="imageaccent1" refType="w" fact="0.1537"/>
          <dgm:constr type="t" for="ch" forName="imageaccent1" refType="h" fact="0.7417"/>
          <dgm:constr type="w" for="ch" forName="imageaccent1" refType="w" fact="0.0265"/>
          <dgm:constr type="h" for="ch" forName="imageaccent1" refType="h" fact="0.0444"/>
          <dgm:constr type="l" for="ch" forName="textaccent2" refType="w" fact="0.5407"/>
          <dgm:constr type="t" for="ch" forName="textaccent2" refType="h" fact="0.7384"/>
          <dgm:constr type="w" for="ch" forName="textaccent2" refType="w" fact="0.0265"/>
          <dgm:constr type="h" for="ch" forName="textaccent2" refType="h" fact="0.0444"/>
          <dgm:constr type="l" for="ch" forName="imageaccent2" refType="w" fact="0.5839"/>
          <dgm:constr type="t" for="ch" forName="imageaccent2" refType="h" fact="0.7904"/>
          <dgm:constr type="w" for="ch" forName="imageaccent2" refType="w" fact="0.0265"/>
          <dgm:constr type="h" for="ch" forName="imageaccent2" refType="h" fact="0.0444"/>
          <dgm:constr type="l" for="ch" forName="text3" refType="w" fact="0.1927"/>
          <dgm:constr type="t" for="ch" forName="text3" refType="h" fact="0.2087"/>
          <dgm:constr type="w" for="ch" forName="text3" refType="w" fact="0.227"/>
          <dgm:constr type="h" for="ch" forName="text3" refType="h" fact="0.3786"/>
          <dgm:constr type="l" for="ch" forName="textaccent3" refType="w" fact="0.3472"/>
          <dgm:constr type="t" for="ch" forName="textaccent3" refType="h" fact="0.2165"/>
          <dgm:constr type="w" for="ch" forName="textaccent3" refType="w" fact="0.0265"/>
          <dgm:constr type="h" for="ch" forName="textaccent3" refType="h" fact="0.0444"/>
          <dgm:constr type="l" for="ch" forName="imageaccent3" refType="w" fact="0.3904"/>
          <dgm:constr type="t" for="ch" forName="imageaccent3" refType="h" fact="0.1678"/>
          <dgm:constr type="w" for="ch" forName="imageaccent3" refType="w" fact="0.0265"/>
          <dgm:constr type="h" for="ch" forName="imageaccent3" refType="h" fact="0.0444"/>
          <dgm:constr type="l" for="ch" forName="textaccent4" refType="w" fact="0.7739"/>
          <dgm:constr type="t" for="ch" forName="textaccent4" refType="h" fact="0.3752"/>
          <dgm:constr type="w" for="ch" forName="textaccent4" refType="w" fact="0.0265"/>
          <dgm:constr type="h" for="ch" forName="textaccent4" refType="h" fact="0.0444"/>
          <dgm:constr type="l" for="ch" forName="image4" refType="w" fact="0.773"/>
          <dgm:constr type="t" for="ch" forName="image4" refType="h" fact="0.4162"/>
          <dgm:constr type="w" for="ch" forName="image4" refType="w" fact="0.227"/>
          <dgm:constr type="h" for="ch" forName="image4" refType="h" fact="0.3786"/>
          <dgm:constr type="l" for="ch" forName="imageaccent4" refType="w" fact="0.8188"/>
          <dgm:constr type="t" for="ch" forName="imageaccent4" refType="h" fact="0.4229"/>
          <dgm:constr type="w" for="ch" forName="imageaccent4" refType="w" fact="0.0265"/>
          <dgm:constr type="h" for="ch" forName="imageaccent4" refType="h" fact="0.0444"/>
        </dgm:constrLst>
      </dgm:if>
      <dgm:if name="Name6" axis="ch" ptType="node" func="cnt" op="equ" val="5">
        <dgm:alg type="composite">
          <dgm:param type="ar" val="2.3203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4193"/>
          <dgm:constr type="w" for="ch" forName="image4" refType="w" fact="0.1886"/>
          <dgm:constr type="h" for="ch" forName="image4" refType="h" fact="0.3757"/>
          <dgm:constr type="l" for="ch" forName="text5" refType="w" fact="0.6491"/>
          <dgm:constr type="t" for="ch" forName="text5" refType="h" fact="0.004"/>
          <dgm:constr type="w" for="ch" forName="text5" refType="w" fact="0.1886"/>
          <dgm:constr type="h" for="ch" forName="text5" refType="h" fact="0.3757"/>
          <dgm:constr type="l" for="ch" forName="image5" refType="w" fact="0.8114"/>
          <dgm:constr type="t" for="ch" forName="image5" refType="h" fact="0.2136"/>
          <dgm:constr type="w" for="ch" forName="image5" refType="w" fact="0.1886"/>
          <dgm:constr type="h" for="ch" forName="image5" refType="h" fact="0.3757"/>
          <dgm:constr type="l" for="ch" forName="image2" refType="w" fact="0.4868"/>
          <dgm:constr type="t" for="ch" forName="image2" refType="h" fact="0.6235"/>
          <dgm:constr type="w" for="ch" forName="image2" refType="w" fact="0.1886"/>
          <dgm:constr type="h" for="ch" forName="image2" refType="h" fact="0.3757"/>
          <dgm:constr type="l" for="ch" forName="text4" refType="w" fact="0.4868"/>
          <dgm:constr type="t" for="ch" forName="text4" refType="h" fact="0.2081"/>
          <dgm:constr type="w" for="ch" forName="text4" refType="w" fact="0.1886"/>
          <dgm:constr type="h" for="ch" forName="text4" refType="h" fact="0.3757"/>
          <dgm:constr type="l" for="ch" forName="text2" refType="w" fact="0.3246"/>
          <dgm:constr type="t" for="ch" forName="text2" refType="h" fact="0.4154"/>
          <dgm:constr type="w" for="ch" forName="text2" refType="w" fact="0.1886"/>
          <dgm:constr type="h" for="ch" forName="text2" refType="h" fact="0.3757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757"/>
          <dgm:constr type="l" for="ch" forName="text1" refType="w" fact="0.1623"/>
          <dgm:constr type="t" for="ch" forName="text1" refType="h" fact="0.6243"/>
          <dgm:constr type="w" for="ch" forName="text1" refType="w" fact="0.1886"/>
          <dgm:constr type="h" for="ch" forName="text1" refType="h" fact="0.3757"/>
          <dgm:constr type="l" for="ch" forName="text3" refType="w" fact="0.1623"/>
          <dgm:constr type="t" for="ch" forName="text3" refType="h" fact="0.2089"/>
          <dgm:constr type="w" for="ch" forName="text3" refType="w" fact="0.1886"/>
          <dgm:constr type="h" for="ch" forName="text3" refType="h" fact="0.3757"/>
          <dgm:constr type="l" for="ch" forName="textaccent1" refType="w" fact="0.1668"/>
          <dgm:constr type="t" for="ch" forName="textaccent1" refType="h" fact="0.7923"/>
          <dgm:constr type="w" for="ch" forName="textaccent1" refType="w" fact="0.022"/>
          <dgm:constr type="h" for="ch" forName="textaccent1" refType="h" fact="0.044"/>
          <dgm:constr type="l" for="ch" forName="image1" refType="w" fact="0"/>
          <dgm:constr type="t" for="ch" forName="image1" refType="h" fact="0.4166"/>
          <dgm:constr type="w" for="ch" forName="image1" refType="w" fact="0.1886"/>
          <dgm:constr type="h" for="ch" forName="image1" refType="h" fact="0.3757"/>
          <dgm:constr type="l" for="ch" forName="imageaccent1" refType="w" fact="0.1292"/>
          <dgm:constr type="t" for="ch" forName="imageaccent1" refType="h" fact="0.7424"/>
          <dgm:constr type="w" for="ch" forName="imageaccent1" refType="w" fact="0.022"/>
          <dgm:constr type="h" for="ch" forName="imageaccent1" refType="h" fact="0.044"/>
          <dgm:constr type="l" for="ch" forName="textaccent2" refType="w" fact="0.4544"/>
          <dgm:constr type="t" for="ch" forName="textaccent2" refType="h" fact="0.7404"/>
          <dgm:constr type="w" for="ch" forName="textaccent2" refType="w" fact="0.022"/>
          <dgm:constr type="h" for="ch" forName="textaccent2" refType="h" fact="0.044"/>
          <dgm:constr type="l" for="ch" forName="imageaccent2" refType="w" fact="0.4914"/>
          <dgm:constr type="t" for="ch" forName="imageaccent2" refType="h" fact="0.7907"/>
          <dgm:constr type="w" for="ch" forName="imageaccent2" refType="w" fact="0.022"/>
          <dgm:constr type="h" for="ch" forName="imageaccent2" refType="h" fact="0.044"/>
          <dgm:constr type="l" for="ch" forName="textaccent3" refType="w" fact="0.2915"/>
          <dgm:constr type="t" for="ch" forName="textaccent3" refType="h" fact="0.216"/>
          <dgm:constr type="w" for="ch" forName="textaccent3" refType="w" fact="0.022"/>
          <dgm:constr type="h" for="ch" forName="textaccent3" refType="h" fact="0.044"/>
          <dgm:constr type="l" for="ch" forName="imageaccent3" refType="w" fact="0.3299"/>
          <dgm:constr type="t" for="ch" forName="imageaccent3" refType="h" fact="0.1665"/>
          <dgm:constr type="w" for="ch" forName="imageaccent3" refType="w" fact="0.022"/>
          <dgm:constr type="h" for="ch" forName="imageaccent3" refType="h" fact="0.044"/>
          <dgm:constr type="l" for="ch" forName="textaccent4" refType="w" fact="0.65"/>
          <dgm:constr type="t" for="ch" forName="textaccent4" refType="h" fact="0.3746"/>
          <dgm:constr type="w" for="ch" forName="textaccent4" refType="w" fact="0.022"/>
          <dgm:constr type="h" for="ch" forName="textaccent4" refType="h" fact="0.044"/>
          <dgm:constr type="l" for="ch" forName="imageaccent4" refType="w" fact="0.6859"/>
          <dgm:constr type="t" for="ch" forName="imageaccent4" refType="h" fact="0.4261"/>
          <dgm:constr type="w" for="ch" forName="imageaccent4" refType="w" fact="0.022"/>
          <dgm:constr type="h" for="ch" forName="imageaccent4" refType="h" fact="0.044"/>
          <dgm:constr type="l" for="ch" forName="textaccent5" refType="w" fact="0.8123"/>
          <dgm:constr type="t" for="ch" forName="textaccent5" refType="h" fact="0.1724"/>
          <dgm:constr type="w" for="ch" forName="textaccent5" refType="w" fact="0.022"/>
          <dgm:constr type="h" for="ch" forName="textaccent5" refType="h" fact="0.044"/>
          <dgm:constr type="l" for="ch" forName="imageaccent5" refType="w" fact="0.849"/>
          <dgm:constr type="t" for="ch" forName="imageaccent5" refType="h" fact="0.222"/>
          <dgm:constr type="w" for="ch" forName="imageaccent5" refType="w" fact="0.022"/>
          <dgm:constr type="h" for="ch" forName="imageaccent5" refType="h" fact="0.044"/>
        </dgm:constrLst>
      </dgm:if>
      <dgm:if name="Name7" axis="ch" ptType="node" func="cnt" op="equ" val="6">
        <dgm:alg type="composite">
          <dgm:param type="ar" val="1.9179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3466"/>
          <dgm:constr type="w" for="ch" forName="image4" refType="w" fact="0.1886"/>
          <dgm:constr type="h" for="ch" forName="image4" refType="h" fact="0.3106"/>
          <dgm:constr type="l" for="ch" forName="text5" refType="w" fact="0.6491"/>
          <dgm:constr type="t" for="ch" forName="text5" refType="h" fact="0.0033"/>
          <dgm:constr type="w" for="ch" forName="text5" refType="w" fact="0.1886"/>
          <dgm:constr type="h" for="ch" forName="text5" refType="h" fact="0.3106"/>
          <dgm:constr type="l" for="ch" forName="image5" refType="w" fact="0.8114"/>
          <dgm:constr type="t" for="ch" forName="image5" refType="h" fact="0.1766"/>
          <dgm:constr type="w" for="ch" forName="image5" refType="w" fact="0.1886"/>
          <dgm:constr type="h" for="ch" forName="image5" refType="h" fact="0.3106"/>
          <dgm:constr type="l" for="ch" forName="image2" refType="w" fact="0.4868"/>
          <dgm:constr type="t" for="ch" forName="image2" refType="h" fact="0.5154"/>
          <dgm:constr type="w" for="ch" forName="image2" refType="w" fact="0.1886"/>
          <dgm:constr type="h" for="ch" forName="image2" refType="h" fact="0.3106"/>
          <dgm:constr type="l" for="ch" forName="text4" refType="w" fact="0.4868"/>
          <dgm:constr type="t" for="ch" forName="text4" refType="h" fact="0.172"/>
          <dgm:constr type="w" for="ch" forName="text4" refType="w" fact="0.1886"/>
          <dgm:constr type="h" for="ch" forName="text4" refType="h" fact="0.3106"/>
          <dgm:constr type="l" for="ch" forName="text2" refType="w" fact="0.3246"/>
          <dgm:constr type="t" for="ch" forName="text2" refType="h" fact="0.3434"/>
          <dgm:constr type="w" for="ch" forName="text2" refType="w" fact="0.1886"/>
          <dgm:constr type="h" for="ch" forName="text2" refType="h" fact="0.3106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106"/>
          <dgm:constr type="l" for="ch" forName="text1" refType="w" fact="0.1623"/>
          <dgm:constr type="t" for="ch" forName="text1" refType="h" fact="0.516"/>
          <dgm:constr type="w" for="ch" forName="text1" refType="w" fact="0.1886"/>
          <dgm:constr type="h" for="ch" forName="text1" refType="h" fact="0.3106"/>
          <dgm:constr type="l" for="ch" forName="text3" refType="w" fact="0.1623"/>
          <dgm:constr type="t" for="ch" forName="text3" refType="h" fact="0.1727"/>
          <dgm:constr type="w" for="ch" forName="text3" refType="w" fact="0.1886"/>
          <dgm:constr type="h" for="ch" forName="text3" refType="h" fact="0.3106"/>
          <dgm:constr type="l" for="ch" forName="textaccent1" refType="w" fact="0.1668"/>
          <dgm:constr type="t" for="ch" forName="textaccent1" refType="h" fact="0.6549"/>
          <dgm:constr type="w" for="ch" forName="textaccent1" refType="w" fact="0.022"/>
          <dgm:constr type="h" for="ch" forName="textaccent1" refType="h" fact="0.0364"/>
          <dgm:constr type="l" for="ch" forName="image1" refType="w" fact="0"/>
          <dgm:constr type="t" for="ch" forName="image1" refType="h" fact="0.3443"/>
          <dgm:constr type="w" for="ch" forName="image1" refType="w" fact="0.1886"/>
          <dgm:constr type="h" for="ch" forName="image1" refType="h" fact="0.3106"/>
          <dgm:constr type="l" for="ch" forName="imageaccent1" refType="w" fact="0.1292"/>
          <dgm:constr type="t" for="ch" forName="imageaccent1" refType="h" fact="0.6137"/>
          <dgm:constr type="w" for="ch" forName="imageaccent1" refType="w" fact="0.022"/>
          <dgm:constr type="h" for="ch" forName="imageaccent1" refType="h" fact="0.0364"/>
          <dgm:constr type="l" for="ch" forName="textaccent2" refType="w" fact="0.4544"/>
          <dgm:constr type="t" for="ch" forName="textaccent2" refType="h" fact="0.612"/>
          <dgm:constr type="w" for="ch" forName="textaccent2" refType="w" fact="0.022"/>
          <dgm:constr type="h" for="ch" forName="textaccent2" refType="h" fact="0.0364"/>
          <dgm:constr type="l" for="ch" forName="imageaccent2" refType="w" fact="0.4914"/>
          <dgm:constr type="t" for="ch" forName="imageaccent2" refType="h" fact="0.6536"/>
          <dgm:constr type="w" for="ch" forName="imageaccent2" refType="w" fact="0.022"/>
          <dgm:constr type="h" for="ch" forName="imageaccent2" refType="h" fact="0.0364"/>
          <dgm:constr type="l" for="ch" forName="textaccent3" refType="w" fact="0.2915"/>
          <dgm:constr type="t" for="ch" forName="textaccent3" refType="h" fact="0.1786"/>
          <dgm:constr type="w" for="ch" forName="textaccent3" refType="w" fact="0.022"/>
          <dgm:constr type="h" for="ch" forName="textaccent3" refType="h" fact="0.0364"/>
          <dgm:constr type="l" for="ch" forName="imageaccent3" refType="w" fact="0.3299"/>
          <dgm:constr type="t" for="ch" forName="imageaccent3" refType="h" fact="0.1376"/>
          <dgm:constr type="w" for="ch" forName="imageaccent3" refType="w" fact="0.022"/>
          <dgm:constr type="h" for="ch" forName="imageaccent3" refType="h" fact="0.0364"/>
          <dgm:constr type="l" for="ch" forName="textaccent4" refType="w" fact="0.65"/>
          <dgm:constr type="t" for="ch" forName="textaccent4" refType="h" fact="0.3096"/>
          <dgm:constr type="w" for="ch" forName="textaccent4" refType="w" fact="0.022"/>
          <dgm:constr type="h" for="ch" forName="textaccent4" refType="h" fact="0.0364"/>
          <dgm:constr type="l" for="ch" forName="imageaccent4" refType="w" fact="0.6859"/>
          <dgm:constr type="t" for="ch" forName="imageaccent4" refType="h" fact="0.3522"/>
          <dgm:constr type="w" for="ch" forName="imageaccent4" refType="w" fact="0.022"/>
          <dgm:constr type="h" for="ch" forName="imageaccent4" refType="h" fact="0.0364"/>
          <dgm:constr type="l" for="ch" forName="textaccent5" refType="w" fact="0.8123"/>
          <dgm:constr type="t" for="ch" forName="textaccent5" refType="h" fact="0.1425"/>
          <dgm:constr type="w" for="ch" forName="textaccent5" refType="w" fact="0.022"/>
          <dgm:constr type="h" for="ch" forName="textaccent5" refType="h" fact="0.0364"/>
          <dgm:constr type="l" for="ch" forName="imageaccent5" refType="w" fact="0.849"/>
          <dgm:constr type="t" for="ch" forName="imageaccent5" refType="h" fact="0.1835"/>
          <dgm:constr type="w" for="ch" forName="imageaccent5" refType="w" fact="0.022"/>
          <dgm:constr type="h" for="ch" forName="imageaccent5" refType="h" fact="0.0364"/>
          <dgm:constr type="l" for="ch" forName="image6" refType="w" fact="0.6491"/>
          <dgm:constr type="t" for="ch" forName="image6" refType="h" fact="0.6894"/>
          <dgm:constr type="w" for="ch" forName="image6" refType="w" fact="0.1886"/>
          <dgm:constr type="h" for="ch" forName="image6" refType="h" fact="0.3106"/>
          <dgm:constr type="l" for="ch" forName="text6" refType="w" fact="0.8114"/>
          <dgm:constr type="t" for="ch" forName="text6" refType="h" fact="0.5194"/>
          <dgm:constr type="w" for="ch" forName="text6" refType="w" fact="0.1886"/>
          <dgm:constr type="h" for="ch" forName="text6" refType="h" fact="0.3106"/>
          <dgm:constr type="l" for="ch" forName="imageaccent6" refType="w" fact="0.8138"/>
          <dgm:constr type="t" for="ch" forName="imageaccent6" refType="h" fact="0.8257"/>
          <dgm:constr type="w" for="ch" forName="imageaccent6" refType="w" fact="0.022"/>
          <dgm:constr type="h" for="ch" forName="imageaccent6" refType="h" fact="0.0364"/>
          <dgm:constr type="l" for="ch" forName="textaccent6" refType="w" fact="0.8488"/>
          <dgm:constr type="t" for="ch" forName="textaccent6" refType="h" fact="0.7914"/>
          <dgm:constr type="w" for="ch" forName="textaccent6" refType="w" fact="0.022"/>
          <dgm:constr type="h" for="ch" forName="textaccent6" refType="h" fact="0.0364"/>
        </dgm:constrLst>
      </dgm:if>
      <dgm:if name="Name8" axis="ch" ptType="node" func="cnt" op="equ" val="7">
        <dgm:alg type="composite">
          <dgm:param type="ar" val="1.6382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2961"/>
          <dgm:constr type="w" for="ch" forName="image4" refType="w" fact="0.1886"/>
          <dgm:constr type="h" for="ch" forName="image4" refType="h" fact="0.2653"/>
          <dgm:constr type="l" for="ch" forName="text5" refType="w" fact="0.6491"/>
          <dgm:constr type="t" for="ch" forName="text5" refType="h" fact="0.0028"/>
          <dgm:constr type="w" for="ch" forName="text5" refType="w" fact="0.1886"/>
          <dgm:constr type="h" for="ch" forName="text5" refType="h" fact="0.2653"/>
          <dgm:constr type="l" for="ch" forName="image5" refType="w" fact="0.8114"/>
          <dgm:constr type="t" for="ch" forName="image5" refType="h" fact="0.1508"/>
          <dgm:constr type="w" for="ch" forName="image5" refType="w" fact="0.1886"/>
          <dgm:constr type="h" for="ch" forName="image5" refType="h" fact="0.2653"/>
          <dgm:constr type="l" for="ch" forName="image2" refType="w" fact="0.4868"/>
          <dgm:constr type="t" for="ch" forName="image2" refType="h" fact="0.4402"/>
          <dgm:constr type="w" for="ch" forName="image2" refType="w" fact="0.1886"/>
          <dgm:constr type="h" for="ch" forName="image2" refType="h" fact="0.2653"/>
          <dgm:constr type="l" for="ch" forName="text4" refType="w" fact="0.4868"/>
          <dgm:constr type="t" for="ch" forName="text4" refType="h" fact="0.1469"/>
          <dgm:constr type="w" for="ch" forName="text4" refType="w" fact="0.1886"/>
          <dgm:constr type="h" for="ch" forName="text4" refType="h" fact="0.2653"/>
          <dgm:constr type="l" for="ch" forName="text2" refType="w" fact="0.3246"/>
          <dgm:constr type="t" for="ch" forName="text2" refType="h" fact="0.2933"/>
          <dgm:constr type="w" for="ch" forName="text2" refType="w" fact="0.1886"/>
          <dgm:constr type="h" for="ch" forName="text2" refType="h" fact="0.2653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2653"/>
          <dgm:constr type="l" for="ch" forName="text1" refType="w" fact="0.1623"/>
          <dgm:constr type="t" for="ch" forName="text1" refType="h" fact="0.4408"/>
          <dgm:constr type="w" for="ch" forName="text1" refType="w" fact="0.1886"/>
          <dgm:constr type="h" for="ch" forName="text1" refType="h" fact="0.2653"/>
          <dgm:constr type="l" for="ch" forName="text3" refType="w" fact="0.1623"/>
          <dgm:constr type="t" for="ch" forName="text3" refType="h" fact="0.1475"/>
          <dgm:constr type="w" for="ch" forName="text3" refType="w" fact="0.1886"/>
          <dgm:constr type="h" for="ch" forName="text3" refType="h" fact="0.2653"/>
          <dgm:constr type="l" for="ch" forName="textaccent1" refType="w" fact="0.1668"/>
          <dgm:constr type="t" for="ch" forName="textaccent1" refType="h" fact="0.5594"/>
          <dgm:constr type="w" for="ch" forName="textaccent1" refType="w" fact="0.022"/>
          <dgm:constr type="h" for="ch" forName="textaccent1" refType="h" fact="0.0311"/>
          <dgm:constr type="l" for="ch" forName="image1" refType="w" fact="0"/>
          <dgm:constr type="t" for="ch" forName="image1" refType="h" fact="0.2941"/>
          <dgm:constr type="w" for="ch" forName="image1" refType="w" fact="0.1886"/>
          <dgm:constr type="h" for="ch" forName="image1" refType="h" fact="0.2653"/>
          <dgm:constr type="l" for="ch" forName="imageaccent1" refType="w" fact="0.1292"/>
          <dgm:constr type="t" for="ch" forName="imageaccent1" refType="h" fact="0.5242"/>
          <dgm:constr type="w" for="ch" forName="imageaccent1" refType="w" fact="0.022"/>
          <dgm:constr type="h" for="ch" forName="imageaccent1" refType="h" fact="0.0311"/>
          <dgm:constr type="l" for="ch" forName="textaccent2" refType="w" fact="0.4544"/>
          <dgm:constr type="t" for="ch" forName="textaccent2" refType="h" fact="0.5228"/>
          <dgm:constr type="w" for="ch" forName="textaccent2" refType="w" fact="0.022"/>
          <dgm:constr type="h" for="ch" forName="textaccent2" refType="h" fact="0.0311"/>
          <dgm:constr type="l" for="ch" forName="imageaccent2" refType="w" fact="0.4914"/>
          <dgm:constr type="t" for="ch" forName="imageaccent2" refType="h" fact="0.5583"/>
          <dgm:constr type="w" for="ch" forName="imageaccent2" refType="w" fact="0.022"/>
          <dgm:constr type="h" for="ch" forName="imageaccent2" refType="h" fact="0.0311"/>
          <dgm:constr type="l" for="ch" forName="textaccent3" refType="w" fact="0.2907"/>
          <dgm:constr type="t" for="ch" forName="textaccent3" refType="h" fact="0.1511"/>
          <dgm:constr type="w" for="ch" forName="textaccent3" refType="w" fact="0.022"/>
          <dgm:constr type="h" for="ch" forName="textaccent3" refType="h" fact="0.0311"/>
          <dgm:constr type="l" for="ch" forName="imageaccent3" refType="w" fact="0.3299"/>
          <dgm:constr type="t" for="ch" forName="imageaccent3" refType="h" fact="0.1175"/>
          <dgm:constr type="w" for="ch" forName="imageaccent3" refType="w" fact="0.022"/>
          <dgm:constr type="h" for="ch" forName="imageaccent3" refType="h" fact="0.0311"/>
          <dgm:constr type="l" for="ch" forName="textaccent4" refType="w" fact="0.65"/>
          <dgm:constr type="t" for="ch" forName="textaccent4" refType="h" fact="0.2645"/>
          <dgm:constr type="w" for="ch" forName="textaccent4" refType="w" fact="0.022"/>
          <dgm:constr type="h" for="ch" forName="textaccent4" refType="h" fact="0.0311"/>
          <dgm:constr type="l" for="ch" forName="imageaccent4" refType="w" fact="0.6859"/>
          <dgm:constr type="t" for="ch" forName="imageaccent4" refType="h" fact="0.3008"/>
          <dgm:constr type="w" for="ch" forName="imageaccent4" refType="w" fact="0.022"/>
          <dgm:constr type="h" for="ch" forName="imageaccent4" refType="h" fact="0.0311"/>
          <dgm:constr type="l" for="ch" forName="textaccent5" refType="w" fact="0.8123"/>
          <dgm:constr type="t" for="ch" forName="textaccent5" refType="h" fact="0.1217"/>
          <dgm:constr type="w" for="ch" forName="textaccent5" refType="w" fact="0.022"/>
          <dgm:constr type="h" for="ch" forName="textaccent5" refType="h" fact="0.0311"/>
          <dgm:constr type="l" for="ch" forName="imageaccent5" refType="w" fact="0.849"/>
          <dgm:constr type="t" for="ch" forName="imageaccent5" refType="h" fact="0.1567"/>
          <dgm:constr type="w" for="ch" forName="imageaccent5" refType="w" fact="0.022"/>
          <dgm:constr type="h" for="ch" forName="imageaccent5" refType="h" fact="0.0311"/>
          <dgm:constr type="l" for="ch" forName="image6" refType="w" fact="0.6491"/>
          <dgm:constr type="t" for="ch" forName="image6" refType="h" fact="0.5889"/>
          <dgm:constr type="w" for="ch" forName="image6" refType="w" fact="0.1886"/>
          <dgm:constr type="h" for="ch" forName="image6" refType="h" fact="0.2653"/>
          <dgm:constr type="l" for="ch" forName="text6" refType="w" fact="0.8114"/>
          <dgm:constr type="t" for="ch" forName="text6" refType="h" fact="0.4436"/>
          <dgm:constr type="w" for="ch" forName="text6" refType="w" fact="0.1886"/>
          <dgm:constr type="h" for="ch" forName="text6" refType="h" fact="0.2653"/>
          <dgm:constr type="l" for="ch" forName="imageaccent6" refType="w" fact="0.8138"/>
          <dgm:constr type="t" for="ch" forName="imageaccent6" refType="h" fact="0.7053"/>
          <dgm:constr type="w" for="ch" forName="imageaccent6" refType="w" fact="0.022"/>
          <dgm:constr type="h" for="ch" forName="imageaccent6" refType="h" fact="0.0311"/>
          <dgm:constr type="l" for="ch" forName="textaccent6" refType="w" fact="0.8488"/>
          <dgm:constr type="t" for="ch" forName="textaccent6" refType="h" fact="0.676"/>
          <dgm:constr type="w" for="ch" forName="textaccent6" refType="w" fact="0.022"/>
          <dgm:constr type="h" for="ch" forName="textaccent6" refType="h" fact="0.0311"/>
          <dgm:constr type="l" for="ch" forName="text7" refType="w" fact="0.3244"/>
          <dgm:constr type="t" for="ch" forName="text7" refType="h" fact="0.5872"/>
          <dgm:constr type="w" for="ch" forName="text7" refType="w" fact="0.1886"/>
          <dgm:constr type="h" for="ch" forName="text7" refType="h" fact="0.2653"/>
          <dgm:constr type="l" for="ch" forName="image7" refType="w" fact="0.1622"/>
          <dgm:constr type="t" for="ch" forName="image7" refType="h" fact="0.7347"/>
          <dgm:constr type="w" for="ch" forName="image7" refType="w" fact="0.1886"/>
          <dgm:constr type="h" for="ch" forName="image7" refType="h" fact="0.2653"/>
          <dgm:constr type="l" for="ch" forName="imageaccent7" refType="w" fact="0.2905"/>
          <dgm:constr type="t" for="ch" forName="imageaccent7" refType="h" fact="0.7384"/>
          <dgm:constr type="w" for="ch" forName="imageaccent7" refType="w" fact="0.022"/>
          <dgm:constr type="h" for="ch" forName="imageaccent7" refType="h" fact="0.0311"/>
          <dgm:constr type="l" for="ch" forName="textaccent7" refType="w" fact="0.3298"/>
          <dgm:constr type="t" for="ch" forName="textaccent7" refType="h" fact="0.7048"/>
          <dgm:constr type="w" for="ch" forName="textaccent7" refType="w" fact="0.022"/>
          <dgm:constr type="h" for="ch" forName="textaccent7" refType="h" fact="0.0311"/>
        </dgm:constrLst>
      </dgm:if>
      <dgm:if name="Name9" axis="ch" ptType="node" func="cnt" op="equ" val="8">
        <dgm:alg type="composite">
          <dgm:param type="ar" val="1.8974"/>
        </dgm:alg>
        <dgm:constrLst>
          <dgm:constr type="primFontSz" for="des" ptType="node" op="equ" val="65"/>
          <dgm:constr type="l" for="ch" forName="image4" refType="w" fact="0.5589"/>
          <dgm:constr type="t" for="ch" forName="image4" refType="h" fact="0.2952"/>
          <dgm:constr type="w" for="ch" forName="image4" refType="w" fact="0.1624"/>
          <dgm:constr type="h" for="ch" forName="image4" refType="h" fact="0.2645"/>
          <dgm:constr type="l" for="ch" forName="text5" refType="w" fact="0.5589"/>
          <dgm:constr type="t" for="ch" forName="text5" refType="h" fact="0.0028"/>
          <dgm:constr type="w" for="ch" forName="text5" refType="w" fact="0.1624"/>
          <dgm:constr type="h" for="ch" forName="text5" refType="h" fact="0.2645"/>
          <dgm:constr type="l" for="ch" forName="image5" refType="w" fact="0.6986"/>
          <dgm:constr type="t" for="ch" forName="image5" refType="h" fact="0.1504"/>
          <dgm:constr type="w" for="ch" forName="image5" refType="w" fact="0.1624"/>
          <dgm:constr type="h" for="ch" forName="image5" refType="h" fact="0.2645"/>
          <dgm:constr type="l" for="ch" forName="image2" refType="w" fact="0.4192"/>
          <dgm:constr type="t" for="ch" forName="image2" refType="h" fact="0.439"/>
          <dgm:constr type="w" for="ch" forName="image2" refType="w" fact="0.1624"/>
          <dgm:constr type="h" for="ch" forName="image2" refType="h" fact="0.2645"/>
          <dgm:constr type="l" for="ch" forName="text4" refType="w" fact="0.4192"/>
          <dgm:constr type="t" for="ch" forName="text4" refType="h" fact="0.1465"/>
          <dgm:constr type="w" for="ch" forName="text4" refType="w" fact="0.1624"/>
          <dgm:constr type="h" for="ch" forName="text4" refType="h" fact="0.2645"/>
          <dgm:constr type="l" for="ch" forName="text2" refType="w" fact="0.2794"/>
          <dgm:constr type="t" for="ch" forName="text2" refType="h" fact="0.2925"/>
          <dgm:constr type="w" for="ch" forName="text2" refType="w" fact="0.1624"/>
          <dgm:constr type="h" for="ch" forName="text2" refType="h" fact="0.2645"/>
          <dgm:constr type="l" for="ch" forName="image3" refType="w" fact="0.2794"/>
          <dgm:constr type="t" for="ch" forName="image3" refType="h" fact="0"/>
          <dgm:constr type="w" for="ch" forName="image3" refType="w" fact="0.1624"/>
          <dgm:constr type="h" for="ch" forName="image3" refType="h" fact="0.2645"/>
          <dgm:constr type="l" for="ch" forName="text1" refType="w" fact="0.1397"/>
          <dgm:constr type="t" for="ch" forName="text1" refType="h" fact="0.4395"/>
          <dgm:constr type="w" for="ch" forName="text1" refType="w" fact="0.1624"/>
          <dgm:constr type="h" for="ch" forName="text1" refType="h" fact="0.2645"/>
          <dgm:constr type="l" for="ch" forName="text3" refType="w" fact="0.1397"/>
          <dgm:constr type="t" for="ch" forName="text3" refType="h" fact="0.1471"/>
          <dgm:constr type="w" for="ch" forName="text3" refType="w" fact="0.1624"/>
          <dgm:constr type="h" for="ch" forName="text3" refType="h" fact="0.2645"/>
          <dgm:constr type="l" for="ch" forName="textaccent1" refType="w" fact="0.1436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4"/>
          <dgm:constr type="h" for="ch" forName="image1" refType="h" fact="0.2645"/>
          <dgm:constr type="l" for="ch" forName="imageaccent1" refType="w" fact="0.1112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2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31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2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41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6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5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93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1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9"/>
          <dgm:constr type="t" for="ch" forName="image6" refType="h" fact="0.5872"/>
          <dgm:constr type="w" for="ch" forName="image6" refType="w" fact="0.1624"/>
          <dgm:constr type="h" for="ch" forName="image6" refType="h" fact="0.2645"/>
          <dgm:constr type="l" for="ch" forName="text6" refType="w" fact="0.6986"/>
          <dgm:constr type="t" for="ch" forName="text6" refType="h" fact="0.4424"/>
          <dgm:constr type="w" for="ch" forName="text6" refType="w" fact="0.1624"/>
          <dgm:constr type="h" for="ch" forName="text6" refType="h" fact="0.2645"/>
          <dgm:constr type="l" for="ch" forName="imageaccent6" refType="w" fact="0.7007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8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3"/>
          <dgm:constr type="t" for="ch" forName="text7" refType="h" fact="0.5856"/>
          <dgm:constr type="w" for="ch" forName="text7" refType="w" fact="0.1624"/>
          <dgm:constr type="h" for="ch" forName="text7" refType="h" fact="0.2645"/>
          <dgm:constr type="l" for="ch" forName="image7" refType="w" fact="0.1396"/>
          <dgm:constr type="t" for="ch" forName="image7" refType="h" fact="0.7326"/>
          <dgm:constr type="w" for="ch" forName="image7" refType="w" fact="0.1624"/>
          <dgm:constr type="h" for="ch" forName="image7" refType="h" fact="0.2645"/>
          <dgm:constr type="l" for="ch" forName="imageaccent7" refType="w" fact="0.2501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4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9"/>
          <dgm:constr type="t" for="ch" forName="image8" refType="h" fact="0.7355"/>
          <dgm:constr type="w" for="ch" forName="image8" refType="w" fact="0.1624"/>
          <dgm:constr type="h" for="ch" forName="image8" refType="h" fact="0.2645"/>
          <dgm:constr type="l" for="ch" forName="text8" refType="w" fact="0.8376"/>
          <dgm:constr type="t" for="ch" forName="text8" refType="h" fact="0.5906"/>
          <dgm:constr type="w" for="ch" forName="text8" refType="w" fact="0.1624"/>
          <dgm:constr type="h" for="ch" forName="text8" refType="h" fact="0.2645"/>
          <dgm:constr type="l" for="ch" forName="imageaccent8" refType="w" fact="0.8397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8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</dgm:constrLst>
      </dgm:if>
      <dgm:if name="Name10" axis="ch" ptType="node" func="cnt" op="equ" val="9">
        <dgm:alg type="composite">
          <dgm:param type="ar" val="1.8986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952"/>
          <dgm:constr type="w" for="ch" forName="image4" refType="w" fact="0.1623"/>
          <dgm:constr type="h" for="ch" forName="image4" refType="h" fact="0.2645"/>
          <dgm:constr type="l" for="ch" forName="text5" refType="w" fact="0.5585"/>
          <dgm:constr type="t" for="ch" forName="text5" refType="h" fact="0.0028"/>
          <dgm:constr type="w" for="ch" forName="text5" refType="w" fact="0.1623"/>
          <dgm:constr type="h" for="ch" forName="text5" refType="h" fact="0.2645"/>
          <dgm:constr type="l" for="ch" forName="image5" refType="w" fact="0.6982"/>
          <dgm:constr type="t" for="ch" forName="image5" refType="h" fact="0.1504"/>
          <dgm:constr type="w" for="ch" forName="image5" refType="w" fact="0.1623"/>
          <dgm:constr type="h" for="ch" forName="image5" refType="h" fact="0.2645"/>
          <dgm:constr type="l" for="ch" forName="image2" refType="w" fact="0.4189"/>
          <dgm:constr type="t" for="ch" forName="image2" refType="h" fact="0.439"/>
          <dgm:constr type="w" for="ch" forName="image2" refType="w" fact="0.1623"/>
          <dgm:constr type="h" for="ch" forName="image2" refType="h" fact="0.2645"/>
          <dgm:constr type="l" for="ch" forName="text4" refType="w" fact="0.4189"/>
          <dgm:constr type="t" for="ch" forName="text4" refType="h" fact="0.1465"/>
          <dgm:constr type="w" for="ch" forName="text4" refType="w" fact="0.1623"/>
          <dgm:constr type="h" for="ch" forName="text4" refType="h" fact="0.2645"/>
          <dgm:constr type="l" for="ch" forName="text2" refType="w" fact="0.2793"/>
          <dgm:constr type="t" for="ch" forName="text2" refType="h" fact="0.2925"/>
          <dgm:constr type="w" for="ch" forName="text2" refType="w" fact="0.1623"/>
          <dgm:constr type="h" for="ch" forName="text2" refType="h" fact="0.2645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645"/>
          <dgm:constr type="l" for="ch" forName="text1" refType="w" fact="0.1396"/>
          <dgm:constr type="t" for="ch" forName="text1" refType="h" fact="0.4395"/>
          <dgm:constr type="w" for="ch" forName="text1" refType="w" fact="0.1623"/>
          <dgm:constr type="h" for="ch" forName="text1" refType="h" fact="0.2645"/>
          <dgm:constr type="l" for="ch" forName="text3" refType="w" fact="0.1396"/>
          <dgm:constr type="t" for="ch" forName="text3" refType="h" fact="0.1471"/>
          <dgm:constr type="w" for="ch" forName="text3" refType="w" fact="0.1623"/>
          <dgm:constr type="h" for="ch" forName="text3" refType="h" fact="0.2645"/>
          <dgm:constr type="l" for="ch" forName="textaccent1" refType="w" fact="0.1435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3"/>
          <dgm:constr type="h" for="ch" forName="image1" refType="h" fact="0.2645"/>
          <dgm:constr type="l" for="ch" forName="imageaccent1" refType="w" fact="0.1111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28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1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39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3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1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89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05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5"/>
          <dgm:constr type="t" for="ch" forName="image6" refType="h" fact="0.5872"/>
          <dgm:constr type="w" for="ch" forName="image6" refType="w" fact="0.1623"/>
          <dgm:constr type="h" for="ch" forName="image6" refType="h" fact="0.2645"/>
          <dgm:constr type="l" for="ch" forName="text6" refType="w" fact="0.6982"/>
          <dgm:constr type="t" for="ch" forName="text6" refType="h" fact="0.4424"/>
          <dgm:constr type="w" for="ch" forName="text6" refType="w" fact="0.1623"/>
          <dgm:constr type="h" for="ch" forName="text6" refType="h" fact="0.2645"/>
          <dgm:constr type="l" for="ch" forName="imageaccent6" refType="w" fact="0.7002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3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2"/>
          <dgm:constr type="t" for="ch" forName="text7" refType="h" fact="0.5856"/>
          <dgm:constr type="w" for="ch" forName="text7" refType="w" fact="0.1623"/>
          <dgm:constr type="h" for="ch" forName="text7" refType="h" fact="0.2645"/>
          <dgm:constr type="l" for="ch" forName="image7" refType="w" fact="0.1395"/>
          <dgm:constr type="t" for="ch" forName="image7" refType="h" fact="0.7326"/>
          <dgm:constr type="w" for="ch" forName="image7" refType="w" fact="0.1623"/>
          <dgm:constr type="h" for="ch" forName="image7" refType="h" fact="0.2645"/>
          <dgm:constr type="l" for="ch" forName="imageaccent7" refType="w" fact="0.25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38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5"/>
          <dgm:constr type="t" for="ch" forName="image8" refType="h" fact="0.7355"/>
          <dgm:constr type="w" for="ch" forName="image8" refType="w" fact="0.1623"/>
          <dgm:constr type="h" for="ch" forName="image8" refType="h" fact="0.2645"/>
          <dgm:constr type="l" for="ch" forName="text8" refType="w" fact="0.8371"/>
          <dgm:constr type="t" for="ch" forName="text8" refType="h" fact="0.5906"/>
          <dgm:constr type="w" for="ch" forName="text8" refType="w" fact="0.1623"/>
          <dgm:constr type="h" for="ch" forName="text8" refType="h" fact="0.2645"/>
          <dgm:constr type="l" for="ch" forName="imageaccent8" refType="w" fact="0.8392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3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  <dgm:constr type="l" for="ch" forName="text9" refType="w" fact="0.8377"/>
          <dgm:constr type="t" for="ch" forName="text9" refType="h" fact="0.0057"/>
          <dgm:constr type="w" for="ch" forName="text9" refType="w" fact="0.1623"/>
          <dgm:constr type="h" for="ch" forName="text9" refType="h" fact="0.2645"/>
          <dgm:constr type="l" for="ch" forName="textaccent9" refType="w" fact="0.95"/>
          <dgm:constr type="t" for="ch" forName="textaccent9" refType="h" fact="0.2383"/>
          <dgm:constr type="w" for="ch" forName="textaccent9" refType="w" fact="0.0189"/>
          <dgm:constr type="h" for="ch" forName="textaccent9" refType="h" fact="0.031"/>
          <dgm:constr type="l" for="ch" forName="image9" refType="w" fact="0.8377"/>
          <dgm:constr type="t" for="ch" forName="image9" refType="h" fact="0.2977"/>
          <dgm:constr type="w" for="ch" forName="image9" refType="w" fact="0.1623"/>
          <dgm:constr type="h" for="ch" forName="image9" refType="h" fact="0.2645"/>
          <dgm:constr type="l" for="ch" forName="imageaccent9" refType="w" fact="0.95"/>
          <dgm:constr type="t" for="ch" forName="imageaccent9" refType="h" fact="0.2993"/>
          <dgm:constr type="w" for="ch" forName="imageaccent9" refType="w" fact="0.0189"/>
          <dgm:constr type="h" for="ch" forName="imageaccent9" refType="h" fact="0.031"/>
        </dgm:constrLst>
      </dgm:if>
      <dgm:if name="Name11" axis="ch" ptType="node" func="cnt" op="equ" val="10">
        <dgm:alg type="composite">
          <dgm:param type="ar" val="1.6608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583"/>
          <dgm:constr type="w" for="ch" forName="image4" refType="w" fact="0.1623"/>
          <dgm:constr type="h" for="ch" forName="image4" refType="h" fact="0.2314"/>
          <dgm:constr type="l" for="ch" forName="text5" refType="w" fact="0.5585"/>
          <dgm:constr type="t" for="ch" forName="text5" refType="h" fact="0.0024"/>
          <dgm:constr type="w" for="ch" forName="text5" refType="w" fact="0.1623"/>
          <dgm:constr type="h" for="ch" forName="text5" refType="h" fact="0.2314"/>
          <dgm:constr type="l" for="ch" forName="image5" refType="w" fact="0.6982"/>
          <dgm:constr type="t" for="ch" forName="image5" refType="h" fact="0.1316"/>
          <dgm:constr type="w" for="ch" forName="image5" refType="w" fact="0.1623"/>
          <dgm:constr type="h" for="ch" forName="image5" refType="h" fact="0.2314"/>
          <dgm:constr type="l" for="ch" forName="image2" refType="w" fact="0.4189"/>
          <dgm:constr type="t" for="ch" forName="image2" refType="h" fact="0.384"/>
          <dgm:constr type="w" for="ch" forName="image2" refType="w" fact="0.1623"/>
          <dgm:constr type="h" for="ch" forName="image2" refType="h" fact="0.2314"/>
          <dgm:constr type="l" for="ch" forName="text4" refType="w" fact="0.4189"/>
          <dgm:constr type="t" for="ch" forName="text4" refType="h" fact="0.1282"/>
          <dgm:constr type="w" for="ch" forName="text4" refType="w" fact="0.1623"/>
          <dgm:constr type="h" for="ch" forName="text4" refType="h" fact="0.2314"/>
          <dgm:constr type="l" for="ch" forName="text2" refType="w" fact="0.2793"/>
          <dgm:constr type="t" for="ch" forName="text2" refType="h" fact="0.2558"/>
          <dgm:constr type="w" for="ch" forName="text2" refType="w" fact="0.1623"/>
          <dgm:constr type="h" for="ch" forName="text2" refType="h" fact="0.2314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314"/>
          <dgm:constr type="l" for="ch" forName="text1" refType="w" fact="0.1396"/>
          <dgm:constr type="t" for="ch" forName="text1" refType="h" fact="0.3845"/>
          <dgm:constr type="w" for="ch" forName="text1" refType="w" fact="0.1623"/>
          <dgm:constr type="h" for="ch" forName="text1" refType="h" fact="0.2314"/>
          <dgm:constr type="l" for="ch" forName="text3" refType="w" fact="0.1396"/>
          <dgm:constr type="t" for="ch" forName="text3" refType="h" fact="0.1286"/>
          <dgm:constr type="w" for="ch" forName="text3" refType="w" fact="0.1623"/>
          <dgm:constr type="h" for="ch" forName="text3" refType="h" fact="0.2314"/>
          <dgm:constr type="l" for="ch" forName="textaccent1" refType="w" fact="0.1435"/>
          <dgm:constr type="t" for="ch" forName="textaccent1" refType="h" fact="0.488"/>
          <dgm:constr type="w" for="ch" forName="textaccent1" refType="w" fact="0.0189"/>
          <dgm:constr type="h" for="ch" forName="textaccent1" refType="h" fact="0.0271"/>
          <dgm:constr type="l" for="ch" forName="image1" refType="w" fact="0"/>
          <dgm:constr type="t" for="ch" forName="image1" refType="h" fact="0.2566"/>
          <dgm:constr type="w" for="ch" forName="image1" refType="w" fact="0.1623"/>
          <dgm:constr type="h" for="ch" forName="image1" refType="h" fact="0.2314"/>
          <dgm:constr type="l" for="ch" forName="imageaccent1" refType="w" fact="0.1111"/>
          <dgm:constr type="t" for="ch" forName="imageaccent1" refType="h" fact="0.4572"/>
          <dgm:constr type="w" for="ch" forName="imageaccent1" refType="w" fact="0.0189"/>
          <dgm:constr type="h" for="ch" forName="imageaccent1" refType="h" fact="0.0271"/>
          <dgm:constr type="l" for="ch" forName="textaccent2" refType="w" fact="0.391"/>
          <dgm:constr type="t" for="ch" forName="textaccent2" refType="h" fact="0.456"/>
          <dgm:constr type="w" for="ch" forName="textaccent2" refType="w" fact="0.0189"/>
          <dgm:constr type="h" for="ch" forName="textaccent2" refType="h" fact="0.0271"/>
          <dgm:constr type="l" for="ch" forName="imageaccent2" refType="w" fact="0.4228"/>
          <dgm:constr type="t" for="ch" forName="imageaccent2" refType="h" fact="0.487"/>
          <dgm:constr type="w" for="ch" forName="imageaccent2" refType="w" fact="0.0189"/>
          <dgm:constr type="h" for="ch" forName="imageaccent2" refType="h" fact="0.0271"/>
          <dgm:constr type="l" for="ch" forName="textaccent3" refType="w" fact="0.2501"/>
          <dgm:constr type="t" for="ch" forName="textaccent3" refType="h" fact="0.1318"/>
          <dgm:constr type="w" for="ch" forName="textaccent3" refType="w" fact="0.0189"/>
          <dgm:constr type="h" for="ch" forName="textaccent3" refType="h" fact="0.0271"/>
          <dgm:constr type="l" for="ch" forName="imageaccent3" refType="w" fact="0.2839"/>
          <dgm:constr type="t" for="ch" forName="imageaccent3" refType="h" fact="0.1025"/>
          <dgm:constr type="w" for="ch" forName="imageaccent3" refType="w" fact="0.0189"/>
          <dgm:constr type="h" for="ch" forName="imageaccent3" refType="h" fact="0.0271"/>
          <dgm:constr type="l" for="ch" forName="textaccent4" refType="w" fact="0.5593"/>
          <dgm:constr type="t" for="ch" forName="textaccent4" refType="h" fact="0.2307"/>
          <dgm:constr type="w" for="ch" forName="textaccent4" refType="w" fact="0.0189"/>
          <dgm:constr type="h" for="ch" forName="textaccent4" refType="h" fact="0.0271"/>
          <dgm:constr type="l" for="ch" forName="imageaccent4" refType="w" fact="0.5901"/>
          <dgm:constr type="t" for="ch" forName="imageaccent4" refType="h" fact="0.2624"/>
          <dgm:constr type="w" for="ch" forName="imageaccent4" refType="w" fact="0.0189"/>
          <dgm:constr type="h" for="ch" forName="imageaccent4" refType="h" fact="0.0271"/>
          <dgm:constr type="l" for="ch" forName="textaccent5" refType="w" fact="0.6989"/>
          <dgm:constr type="t" for="ch" forName="textaccent5" refType="h" fact="0.1062"/>
          <dgm:constr type="w" for="ch" forName="textaccent5" refType="w" fact="0.0189"/>
          <dgm:constr type="h" for="ch" forName="textaccent5" refType="h" fact="0.0271"/>
          <dgm:constr type="l" for="ch" forName="imageaccent5" refType="w" fact="0.7305"/>
          <dgm:constr type="t" for="ch" forName="imageaccent5" refType="h" fact="0.1367"/>
          <dgm:constr type="w" for="ch" forName="imageaccent5" refType="w" fact="0.0189"/>
          <dgm:constr type="h" for="ch" forName="imageaccent5" refType="h" fact="0.0271"/>
          <dgm:constr type="l" for="ch" forName="image6" refType="w" fact="0.5585"/>
          <dgm:constr type="t" for="ch" forName="image6" refType="h" fact="0.5137"/>
          <dgm:constr type="w" for="ch" forName="image6" refType="w" fact="0.1623"/>
          <dgm:constr type="h" for="ch" forName="image6" refType="h" fact="0.2314"/>
          <dgm:constr type="l" for="ch" forName="text6" refType="w" fact="0.6982"/>
          <dgm:constr type="t" for="ch" forName="text6" refType="h" fact="0.387"/>
          <dgm:constr type="w" for="ch" forName="text6" refType="w" fact="0.1623"/>
          <dgm:constr type="h" for="ch" forName="text6" refType="h" fact="0.2314"/>
          <dgm:constr type="l" for="ch" forName="imageaccent6" refType="w" fact="0.7002"/>
          <dgm:constr type="t" for="ch" forName="imageaccent6" refType="h" fact="0.6152"/>
          <dgm:constr type="w" for="ch" forName="imageaccent6" refType="w" fact="0.0189"/>
          <dgm:constr type="h" for="ch" forName="imageaccent6" refType="h" fact="0.0271"/>
          <dgm:constr type="l" for="ch" forName="textaccent6" refType="w" fact="0.7303"/>
          <dgm:constr type="t" for="ch" forName="textaccent6" refType="h" fact="0.5897"/>
          <dgm:constr type="w" for="ch" forName="textaccent6" refType="w" fact="0.0189"/>
          <dgm:constr type="h" for="ch" forName="textaccent6" refType="h" fact="0.0271"/>
          <dgm:constr type="l" for="ch" forName="text7" refType="w" fact="0.2792"/>
          <dgm:constr type="t" for="ch" forName="text7" refType="h" fact="0.5122"/>
          <dgm:constr type="w" for="ch" forName="text7" refType="w" fact="0.1623"/>
          <dgm:constr type="h" for="ch" forName="text7" refType="h" fact="0.2314"/>
          <dgm:constr type="l" for="ch" forName="image7" refType="w" fact="0.1395"/>
          <dgm:constr type="t" for="ch" forName="image7" refType="h" fact="0.6409"/>
          <dgm:constr type="w" for="ch" forName="image7" refType="w" fact="0.1623"/>
          <dgm:constr type="h" for="ch" forName="image7" refType="h" fact="0.2314"/>
          <dgm:constr type="l" for="ch" forName="imageaccent7" refType="w" fact="0.25"/>
          <dgm:constr type="t" for="ch" forName="imageaccent7" refType="h" fact="0.6441"/>
          <dgm:constr type="w" for="ch" forName="imageaccent7" refType="w" fact="0.0189"/>
          <dgm:constr type="h" for="ch" forName="imageaccent7" refType="h" fact="0.0271"/>
          <dgm:constr type="l" for="ch" forName="textaccent7" refType="w" fact="0.2838"/>
          <dgm:constr type="t" for="ch" forName="textaccent7" refType="h" fact="0.6148"/>
          <dgm:constr type="w" for="ch" forName="textaccent7" refType="w" fact="0.0189"/>
          <dgm:constr type="h" for="ch" forName="textaccent7" refType="h" fact="0.0271"/>
          <dgm:constr type="l" for="ch" forName="image8" refType="w" fact="0.6975"/>
          <dgm:constr type="t" for="ch" forName="image8" refType="h" fact="0.6433"/>
          <dgm:constr type="w" for="ch" forName="image8" refType="w" fact="0.1623"/>
          <dgm:constr type="h" for="ch" forName="image8" refType="h" fact="0.2314"/>
          <dgm:constr type="l" for="ch" forName="text8" refType="w" fact="0.8371"/>
          <dgm:constr type="t" for="ch" forName="text8" refType="h" fact="0.5167"/>
          <dgm:constr type="w" for="ch" forName="text8" refType="w" fact="0.1623"/>
          <dgm:constr type="h" for="ch" forName="text8" refType="h" fact="0.2314"/>
          <dgm:constr type="l" for="ch" forName="imageaccent8" refType="w" fact="0.8392"/>
          <dgm:constr type="t" for="ch" forName="imageaccent8" refType="h" fact="0.7449"/>
          <dgm:constr type="w" for="ch" forName="imageaccent8" refType="w" fact="0.0189"/>
          <dgm:constr type="h" for="ch" forName="imageaccent8" refType="h" fact="0.0271"/>
          <dgm:constr type="l" for="ch" forName="textaccent8" refType="w" fact="0.8693"/>
          <dgm:constr type="t" for="ch" forName="textaccent8" refType="h" fact="0.7194"/>
          <dgm:constr type="w" for="ch" forName="textaccent8" refType="w" fact="0.0189"/>
          <dgm:constr type="h" for="ch" forName="textaccent8" refType="h" fact="0.0271"/>
          <dgm:constr type="l" for="ch" forName="text9" refType="w" fact="0.8377"/>
          <dgm:constr type="t" for="ch" forName="text9" refType="h" fact="0.005"/>
          <dgm:constr type="w" for="ch" forName="text9" refType="w" fact="0.1623"/>
          <dgm:constr type="h" for="ch" forName="text9" refType="h" fact="0.2314"/>
          <dgm:constr type="l" for="ch" forName="textaccent9" refType="w" fact="0.95"/>
          <dgm:constr type="t" for="ch" forName="textaccent9" refType="h" fact="0.2084"/>
          <dgm:constr type="w" for="ch" forName="textaccent9" refType="w" fact="0.0189"/>
          <dgm:constr type="h" for="ch" forName="textaccent9" refType="h" fact="0.0271"/>
          <dgm:constr type="l" for="ch" forName="image9" refType="w" fact="0.8377"/>
          <dgm:constr type="t" for="ch" forName="image9" refType="h" fact="0.2604"/>
          <dgm:constr type="w" for="ch" forName="image9" refType="w" fact="0.1623"/>
          <dgm:constr type="h" for="ch" forName="image9" refType="h" fact="0.2314"/>
          <dgm:constr type="l" for="ch" forName="imageaccent9" refType="w" fact="0.95"/>
          <dgm:constr type="t" for="ch" forName="imageaccent9" refType="h" fact="0.2618"/>
          <dgm:constr type="w" for="ch" forName="imageaccent9" refType="w" fact="0.0189"/>
          <dgm:constr type="h" for="ch" forName="imageaccent9" refType="h" fact="0.0271"/>
          <dgm:constr type="l" for="ch" forName="image10" refType="w" fact="0.2786"/>
          <dgm:constr type="t" for="ch" forName="image10" refType="h" fact="0.7686"/>
          <dgm:constr type="w" for="ch" forName="image10" refType="w" fact="0.1623"/>
          <dgm:constr type="h" for="ch" forName="image10" refType="h" fact="0.2314"/>
          <dgm:constr type="l" for="ch" forName="text10" refType="w" fact="0.4183"/>
          <dgm:constr type="t" for="ch" forName="text10" refType="h" fact="0.6419"/>
          <dgm:constr type="w" for="ch" forName="text10" refType="w" fact="0.1623"/>
          <dgm:constr type="h" for="ch" forName="text10" refType="h" fact="0.2314"/>
          <dgm:constr type="l" for="ch" forName="imageaccent10" refType="w" fact="0.4203"/>
          <dgm:constr type="t" for="ch" forName="imageaccent10" refType="h" fact="0.8701"/>
          <dgm:constr type="w" for="ch" forName="imageaccent10" refType="w" fact="0.0189"/>
          <dgm:constr type="h" for="ch" forName="imageaccent10" refType="h" fact="0.0271"/>
          <dgm:constr type="l" for="ch" forName="textaccent10" refType="w" fact="0.4504"/>
          <dgm:constr type="t" for="ch" forName="textaccent10" refType="h" fact="0.8446"/>
          <dgm:constr type="w" for="ch" forName="textaccent10" refType="w" fact="0.0189"/>
          <dgm:constr type="h" for="ch" forName="textaccent10" refType="h" fact="0.0271"/>
        </dgm:constrLst>
      </dgm:if>
      <dgm:if name="Name12" axis="ch" ptType="node" func="cnt" op="equ" val="11">
        <dgm:alg type="composite">
          <dgm:param type="ar" val="1.4704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287"/>
          <dgm:constr type="w" for="ch" forName="image4" refType="w" fact="0.1623"/>
          <dgm:constr type="h" for="ch" forName="image4" refType="h" fact="0.2049"/>
          <dgm:constr type="l" for="ch" forName="text5" refType="w" fact="0.5585"/>
          <dgm:constr type="t" for="ch" forName="text5" refType="h" fact="0.0022"/>
          <dgm:constr type="w" for="ch" forName="text5" refType="w" fact="0.1623"/>
          <dgm:constr type="h" for="ch" forName="text5" refType="h" fact="0.2049"/>
          <dgm:constr type="l" for="ch" forName="image5" refType="w" fact="0.6982"/>
          <dgm:constr type="t" for="ch" forName="image5" refType="h" fact="0.1165"/>
          <dgm:constr type="w" for="ch" forName="image5" refType="w" fact="0.1623"/>
          <dgm:constr type="h" for="ch" forName="image5" refType="h" fact="0.2049"/>
          <dgm:constr type="l" for="ch" forName="image2" refType="w" fact="0.4189"/>
          <dgm:constr type="t" for="ch" forName="image2" refType="h" fact="0.34"/>
          <dgm:constr type="w" for="ch" forName="image2" refType="w" fact="0.1623"/>
          <dgm:constr type="h" for="ch" forName="image2" refType="h" fact="0.2049"/>
          <dgm:constr type="l" for="ch" forName="text4" refType="w" fact="0.4189"/>
          <dgm:constr type="t" for="ch" forName="text4" refType="h" fact="0.1135"/>
          <dgm:constr type="w" for="ch" forName="text4" refType="w" fact="0.1623"/>
          <dgm:constr type="h" for="ch" forName="text4" refType="h" fact="0.2049"/>
          <dgm:constr type="l" for="ch" forName="text2" refType="w" fact="0.2793"/>
          <dgm:constr type="t" for="ch" forName="text2" refType="h" fact="0.2265"/>
          <dgm:constr type="w" for="ch" forName="text2" refType="w" fact="0.1623"/>
          <dgm:constr type="h" for="ch" forName="text2" refType="h" fact="0.2049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049"/>
          <dgm:constr type="l" for="ch" forName="text1" refType="w" fact="0.1396"/>
          <dgm:constr type="t" for="ch" forName="text1" refType="h" fact="0.3404"/>
          <dgm:constr type="w" for="ch" forName="text1" refType="w" fact="0.1623"/>
          <dgm:constr type="h" for="ch" forName="text1" refType="h" fact="0.2049"/>
          <dgm:constr type="l" for="ch" forName="text3" refType="w" fact="0.1396"/>
          <dgm:constr type="t" for="ch" forName="text3" refType="h" fact="0.1139"/>
          <dgm:constr type="w" for="ch" forName="text3" refType="w" fact="0.1623"/>
          <dgm:constr type="h" for="ch" forName="text3" refType="h" fact="0.2049"/>
          <dgm:constr type="l" for="ch" forName="textaccent1" refType="w" fact="0.1435"/>
          <dgm:constr type="t" for="ch" forName="textaccent1" refType="h" fact="0.432"/>
          <dgm:constr type="w" for="ch" forName="textaccent1" refType="w" fact="0.0189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623"/>
          <dgm:constr type="h" for="ch" forName="image1" refType="h" fact="0.2049"/>
          <dgm:constr type="l" for="ch" forName="imageaccent1" refType="w" fact="0.1111"/>
          <dgm:constr type="t" for="ch" forName="imageaccent1" refType="h" fact="0.4048"/>
          <dgm:constr type="w" for="ch" forName="imageaccent1" refType="w" fact="0.0189"/>
          <dgm:constr type="h" for="ch" forName="imageaccent1" refType="h" fact="0.024"/>
          <dgm:constr type="l" for="ch" forName="textaccent2" refType="w" fact="0.391"/>
          <dgm:constr type="t" for="ch" forName="textaccent2" refType="h" fact="0.4038"/>
          <dgm:constr type="w" for="ch" forName="textaccent2" refType="w" fact="0.0189"/>
          <dgm:constr type="h" for="ch" forName="textaccent2" refType="h" fact="0.024"/>
          <dgm:constr type="l" for="ch" forName="imageaccent2" refType="w" fact="0.4228"/>
          <dgm:constr type="t" for="ch" forName="imageaccent2" refType="h" fact="0.4312"/>
          <dgm:constr type="w" for="ch" forName="imageaccent2" refType="w" fact="0.0189"/>
          <dgm:constr type="h" for="ch" forName="imageaccent2" refType="h" fact="0.024"/>
          <dgm:constr type="l" for="ch" forName="textaccent3" refType="w" fact="0.2501"/>
          <dgm:constr type="t" for="ch" forName="textaccent3" refType="h" fact="0.1167"/>
          <dgm:constr type="w" for="ch" forName="textaccent3" refType="w" fact="0.0189"/>
          <dgm:constr type="h" for="ch" forName="textaccent3" refType="h" fact="0.024"/>
          <dgm:constr type="l" for="ch" forName="imageaccent3" refType="w" fact="0.2839"/>
          <dgm:constr type="t" for="ch" forName="imageaccent3" refType="h" fact="0.0908"/>
          <dgm:constr type="w" for="ch" forName="imageaccent3" refType="w" fact="0.0189"/>
          <dgm:constr type="h" for="ch" forName="imageaccent3" refType="h" fact="0.024"/>
          <dgm:constr type="l" for="ch" forName="textaccent4" refType="w" fact="0.5593"/>
          <dgm:constr type="t" for="ch" forName="textaccent4" refType="h" fact="0.2042"/>
          <dgm:constr type="w" for="ch" forName="textaccent4" refType="w" fact="0.0189"/>
          <dgm:constr type="h" for="ch" forName="textaccent4" refType="h" fact="0.024"/>
          <dgm:constr type="l" for="ch" forName="imageaccent4" refType="w" fact="0.5901"/>
          <dgm:constr type="t" for="ch" forName="imageaccent4" refType="h" fact="0.2323"/>
          <dgm:constr type="w" for="ch" forName="imageaccent4" refType="w" fact="0.0189"/>
          <dgm:constr type="h" for="ch" forName="imageaccent4" refType="h" fact="0.024"/>
          <dgm:constr type="l" for="ch" forName="textaccent5" refType="w" fact="0.6989"/>
          <dgm:constr type="t" for="ch" forName="textaccent5" refType="h" fact="0.094"/>
          <dgm:constr type="w" for="ch" forName="textaccent5" refType="w" fact="0.0189"/>
          <dgm:constr type="h" for="ch" forName="textaccent5" refType="h" fact="0.024"/>
          <dgm:constr type="l" for="ch" forName="imageaccent5" refType="w" fact="0.7305"/>
          <dgm:constr type="t" for="ch" forName="imageaccent5" refType="h" fact="0.121"/>
          <dgm:constr type="w" for="ch" forName="imageaccent5" refType="w" fact="0.0189"/>
          <dgm:constr type="h" for="ch" forName="imageaccent5" refType="h" fact="0.024"/>
          <dgm:constr type="l" for="ch" forName="image6" refType="w" fact="0.5585"/>
          <dgm:constr type="t" for="ch" forName="image6" refType="h" fact="0.4548"/>
          <dgm:constr type="w" for="ch" forName="image6" refType="w" fact="0.1623"/>
          <dgm:constr type="h" for="ch" forName="image6" refType="h" fact="0.2049"/>
          <dgm:constr type="l" for="ch" forName="text6" refType="w" fact="0.6982"/>
          <dgm:constr type="t" for="ch" forName="text6" refType="h" fact="0.3426"/>
          <dgm:constr type="w" for="ch" forName="text6" refType="w" fact="0.1623"/>
          <dgm:constr type="h" for="ch" forName="text6" refType="h" fact="0.2049"/>
          <dgm:constr type="l" for="ch" forName="imageaccent6" refType="w" fact="0.7002"/>
          <dgm:constr type="t" for="ch" forName="imageaccent6" refType="h" fact="0.5447"/>
          <dgm:constr type="w" for="ch" forName="imageaccent6" refType="w" fact="0.0189"/>
          <dgm:constr type="h" for="ch" forName="imageaccent6" refType="h" fact="0.024"/>
          <dgm:constr type="l" for="ch" forName="textaccent6" refType="w" fact="0.7303"/>
          <dgm:constr type="t" for="ch" forName="textaccent6" refType="h" fact="0.5221"/>
          <dgm:constr type="w" for="ch" forName="textaccent6" refType="w" fact="0.0189"/>
          <dgm:constr type="h" for="ch" forName="textaccent6" refType="h" fact="0.024"/>
          <dgm:constr type="l" for="ch" forName="text7" refType="w" fact="0.2792"/>
          <dgm:constr type="t" for="ch" forName="text7" refType="h" fact="0.4535"/>
          <dgm:constr type="w" for="ch" forName="text7" refType="w" fact="0.1623"/>
          <dgm:constr type="h" for="ch" forName="text7" refType="h" fact="0.2049"/>
          <dgm:constr type="l" for="ch" forName="image7" refType="w" fact="0.1395"/>
          <dgm:constr type="t" for="ch" forName="image7" refType="h" fact="0.5674"/>
          <dgm:constr type="w" for="ch" forName="image7" refType="w" fact="0.1623"/>
          <dgm:constr type="h" for="ch" forName="image7" refType="h" fact="0.2049"/>
          <dgm:constr type="l" for="ch" forName="imageaccent7" refType="w" fact="0.25"/>
          <dgm:constr type="t" for="ch" forName="imageaccent7" refType="h" fact="0.5703"/>
          <dgm:constr type="w" for="ch" forName="imageaccent7" refType="w" fact="0.0189"/>
          <dgm:constr type="h" for="ch" forName="imageaccent7" refType="h" fact="0.024"/>
          <dgm:constr type="l" for="ch" forName="textaccent7" refType="w" fact="0.2838"/>
          <dgm:constr type="t" for="ch" forName="textaccent7" refType="h" fact="0.5443"/>
          <dgm:constr type="w" for="ch" forName="textaccent7" refType="w" fact="0.0189"/>
          <dgm:constr type="h" for="ch" forName="textaccent7" refType="h" fact="0.024"/>
          <dgm:constr type="l" for="ch" forName="image8" refType="w" fact="0.6975"/>
          <dgm:constr type="t" for="ch" forName="image8" refType="h" fact="0.5696"/>
          <dgm:constr type="w" for="ch" forName="image8" refType="w" fact="0.1623"/>
          <dgm:constr type="h" for="ch" forName="image8" refType="h" fact="0.2049"/>
          <dgm:constr type="l" for="ch" forName="text8" refType="w" fact="0.8371"/>
          <dgm:constr type="t" for="ch" forName="text8" refType="h" fact="0.4574"/>
          <dgm:constr type="w" for="ch" forName="text8" refType="w" fact="0.1623"/>
          <dgm:constr type="h" for="ch" forName="text8" refType="h" fact="0.2049"/>
          <dgm:constr type="l" for="ch" forName="imageaccent8" refType="w" fact="0.8392"/>
          <dgm:constr type="t" for="ch" forName="imageaccent8" refType="h" fact="0.6595"/>
          <dgm:constr type="w" for="ch" forName="imageaccent8" refType="w" fact="0.0189"/>
          <dgm:constr type="h" for="ch" forName="imageaccent8" refType="h" fact="0.024"/>
          <dgm:constr type="l" for="ch" forName="textaccent8" refType="w" fact="0.8693"/>
          <dgm:constr type="t" for="ch" forName="textaccent8" refType="h" fact="0.6369"/>
          <dgm:constr type="w" for="ch" forName="textaccent8" refType="w" fact="0.0189"/>
          <dgm:constr type="h" for="ch" forName="textaccent8" refType="h" fact="0.024"/>
          <dgm:constr type="l" for="ch" forName="text9" refType="w" fact="0.8377"/>
          <dgm:constr type="t" for="ch" forName="text9" refType="h" fact="0.0044"/>
          <dgm:constr type="w" for="ch" forName="text9" refType="w" fact="0.1623"/>
          <dgm:constr type="h" for="ch" forName="text9" refType="h" fact="0.2049"/>
          <dgm:constr type="l" for="ch" forName="textaccent9" refType="w" fact="0.95"/>
          <dgm:constr type="t" for="ch" forName="textaccent9" refType="h" fact="0.1846"/>
          <dgm:constr type="w" for="ch" forName="textaccent9" refType="w" fact="0.0189"/>
          <dgm:constr type="h" for="ch" forName="textaccent9" refType="h" fact="0.024"/>
          <dgm:constr type="l" for="ch" forName="image9" refType="w" fact="0.8377"/>
          <dgm:constr type="t" for="ch" forName="image9" refType="h" fact="0.2306"/>
          <dgm:constr type="w" for="ch" forName="image9" refType="w" fact="0.1623"/>
          <dgm:constr type="h" for="ch" forName="image9" refType="h" fact="0.2049"/>
          <dgm:constr type="l" for="ch" forName="imageaccent9" refType="w" fact="0.95"/>
          <dgm:constr type="t" for="ch" forName="imageaccent9" refType="h" fact="0.2318"/>
          <dgm:constr type="w" for="ch" forName="imageaccent9" refType="w" fact="0.0189"/>
          <dgm:constr type="h" for="ch" forName="imageaccent9" refType="h" fact="0.024"/>
          <dgm:constr type="l" for="ch" forName="image10" refType="w" fact="0.2786"/>
          <dgm:constr type="t" for="ch" forName="image10" refType="h" fact="0.6805"/>
          <dgm:constr type="w" for="ch" forName="image10" refType="w" fact="0.1623"/>
          <dgm:constr type="h" for="ch" forName="image10" refType="h" fact="0.2049"/>
          <dgm:constr type="l" for="ch" forName="text10" refType="w" fact="0.4183"/>
          <dgm:constr type="t" for="ch" forName="text10" refType="h" fact="0.5683"/>
          <dgm:constr type="w" for="ch" forName="text10" refType="w" fact="0.1623"/>
          <dgm:constr type="h" for="ch" forName="text10" refType="h" fact="0.2049"/>
          <dgm:constr type="l" for="ch" forName="imageaccent10" refType="w" fact="0.4203"/>
          <dgm:constr type="t" for="ch" forName="imageaccent10" refType="h" fact="0.7704"/>
          <dgm:constr type="w" for="ch" forName="imageaccent10" refType="w" fact="0.0189"/>
          <dgm:constr type="h" for="ch" forName="imageaccent10" refType="h" fact="0.024"/>
          <dgm:constr type="l" for="ch" forName="textaccent10" refType="w" fact="0.4504"/>
          <dgm:constr type="t" for="ch" forName="textaccent10" refType="h" fact="0.7478"/>
          <dgm:constr type="w" for="ch" forName="textaccent10" refType="w" fact="0.0189"/>
          <dgm:constr type="h" for="ch" forName="textaccent10" refType="h" fact="0.024"/>
          <dgm:constr type="l" for="ch" forName="text11" refType="w" fact="0.6971"/>
          <dgm:constr type="t" for="ch" forName="text11" refType="h" fact="0.7951"/>
          <dgm:constr type="w" for="ch" forName="text11" refType="w" fact="0.1623"/>
          <dgm:constr type="h" for="ch" forName="text11" refType="h" fact="0.2049"/>
          <dgm:constr type="l" for="ch" forName="image11" refType="w" fact="0.5575"/>
          <dgm:constr type="t" for="ch" forName="image11" refType="h" fact="0.6816"/>
          <dgm:constr type="w" for="ch" forName="image11" refType="w" fact="0.1623"/>
          <dgm:constr type="h" for="ch" forName="image11" refType="h" fact="0.2049"/>
          <dgm:constr type="l" for="ch" forName="imageaccent11" refType="w" fact="0.6692"/>
          <dgm:constr type="t" for="ch" forName="imageaccent11" refType="h" fact="0.8589"/>
          <dgm:constr type="w" for="ch" forName="imageaccent11" refType="w" fact="0.0189"/>
          <dgm:constr type="h" for="ch" forName="imageaccent11" refType="h" fact="0.024"/>
          <dgm:constr type="l" for="ch" forName="textaccent11" refType="w" fact="0.701"/>
          <dgm:constr type="t" for="ch" forName="textaccent11" refType="h" fact="0.8863"/>
          <dgm:constr type="w" for="ch" forName="textaccent11" refType="w" fact="0.0189"/>
          <dgm:constr type="h" for="ch" forName="textaccent11" refType="h" fact="0.024"/>
        </dgm:constrLst>
      </dgm:if>
      <dgm:else name="Name13">
        <dgm:alg type="composite">
          <dgm:param type="ar" val="1.675"/>
        </dgm:alg>
        <dgm:constrLst>
          <dgm:constr type="primFontSz" for="des" ptType="node" op="equ" val="65"/>
          <dgm:constr type="l" for="ch" forName="image4" refType="w" fact="0.4903"/>
          <dgm:constr type="t" for="ch" forName="image4" refType="h" fact="0.2287"/>
          <dgm:constr type="w" for="ch" forName="image4" refType="w" fact="0.1425"/>
          <dgm:constr type="h" for="ch" forName="image4" refType="h" fact="0.2049"/>
          <dgm:constr type="l" for="ch" forName="text5" refType="w" fact="0.4903"/>
          <dgm:constr type="t" for="ch" forName="text5" refType="h" fact="0.0022"/>
          <dgm:constr type="w" for="ch" forName="text5" refType="w" fact="0.1425"/>
          <dgm:constr type="h" for="ch" forName="text5" refType="h" fact="0.2049"/>
          <dgm:constr type="l" for="ch" forName="image5" refType="w" fact="0.6129"/>
          <dgm:constr type="t" for="ch" forName="image5" refType="h" fact="0.1165"/>
          <dgm:constr type="w" for="ch" forName="image5" refType="w" fact="0.1425"/>
          <dgm:constr type="h" for="ch" forName="image5" refType="h" fact="0.2049"/>
          <dgm:constr type="l" for="ch" forName="image2" refType="w" fact="0.3677"/>
          <dgm:constr type="t" for="ch" forName="image2" refType="h" fact="0.34"/>
          <dgm:constr type="w" for="ch" forName="image2" refType="w" fact="0.1425"/>
          <dgm:constr type="h" for="ch" forName="image2" refType="h" fact="0.2049"/>
          <dgm:constr type="l" for="ch" forName="text4" refType="w" fact="0.3677"/>
          <dgm:constr type="t" for="ch" forName="text4" refType="h" fact="0.1135"/>
          <dgm:constr type="w" for="ch" forName="text4" refType="w" fact="0.1425"/>
          <dgm:constr type="h" for="ch" forName="text4" refType="h" fact="0.2049"/>
          <dgm:constr type="l" for="ch" forName="text2" refType="w" fact="0.2452"/>
          <dgm:constr type="t" for="ch" forName="text2" refType="h" fact="0.2265"/>
          <dgm:constr type="w" for="ch" forName="text2" refType="w" fact="0.1425"/>
          <dgm:constr type="h" for="ch" forName="text2" refType="h" fact="0.2049"/>
          <dgm:constr type="l" for="ch" forName="image3" refType="w" fact="0.2452"/>
          <dgm:constr type="t" for="ch" forName="image3" refType="h" fact="0"/>
          <dgm:constr type="w" for="ch" forName="image3" refType="w" fact="0.1425"/>
          <dgm:constr type="h" for="ch" forName="image3" refType="h" fact="0.2049"/>
          <dgm:constr type="l" for="ch" forName="text1" refType="w" fact="0.1226"/>
          <dgm:constr type="t" for="ch" forName="text1" refType="h" fact="0.3404"/>
          <dgm:constr type="w" for="ch" forName="text1" refType="w" fact="0.1425"/>
          <dgm:constr type="h" for="ch" forName="text1" refType="h" fact="0.2049"/>
          <dgm:constr type="l" for="ch" forName="text3" refType="w" fact="0.1226"/>
          <dgm:constr type="t" for="ch" forName="text3" refType="h" fact="0.1139"/>
          <dgm:constr type="w" for="ch" forName="text3" refType="w" fact="0.1425"/>
          <dgm:constr type="h" for="ch" forName="text3" refType="h" fact="0.2049"/>
          <dgm:constr type="l" for="ch" forName="textaccent1" refType="w" fact="0.126"/>
          <dgm:constr type="t" for="ch" forName="textaccent1" refType="h" fact="0.432"/>
          <dgm:constr type="w" for="ch" forName="textaccent1" refType="w" fact="0.0166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425"/>
          <dgm:constr type="h" for="ch" forName="image1" refType="h" fact="0.2049"/>
          <dgm:constr type="l" for="ch" forName="imageaccent1" refType="w" fact="0.0976"/>
          <dgm:constr type="t" for="ch" forName="imageaccent1" refType="h" fact="0.4048"/>
          <dgm:constr type="w" for="ch" forName="imageaccent1" refType="w" fact="0.0166"/>
          <dgm:constr type="h" for="ch" forName="imageaccent1" refType="h" fact="0.024"/>
          <dgm:constr type="l" for="ch" forName="textaccent2" refType="w" fact="0.3432"/>
          <dgm:constr type="t" for="ch" forName="textaccent2" refType="h" fact="0.4038"/>
          <dgm:constr type="w" for="ch" forName="textaccent2" refType="w" fact="0.0166"/>
          <dgm:constr type="h" for="ch" forName="textaccent2" refType="h" fact="0.024"/>
          <dgm:constr type="l" for="ch" forName="imageaccent2" refType="w" fact="0.3712"/>
          <dgm:constr type="t" for="ch" forName="imageaccent2" refType="h" fact="0.4312"/>
          <dgm:constr type="w" for="ch" forName="imageaccent2" refType="w" fact="0.0166"/>
          <dgm:constr type="h" for="ch" forName="imageaccent2" refType="h" fact="0.024"/>
          <dgm:constr type="l" for="ch" forName="textaccent3" refType="w" fact="0.2196"/>
          <dgm:constr type="t" for="ch" forName="textaccent3" refType="h" fact="0.1167"/>
          <dgm:constr type="w" for="ch" forName="textaccent3" refType="w" fact="0.0166"/>
          <dgm:constr type="h" for="ch" forName="textaccent3" refType="h" fact="0.024"/>
          <dgm:constr type="l" for="ch" forName="imageaccent3" refType="w" fact="0.2492"/>
          <dgm:constr type="t" for="ch" forName="imageaccent3" refType="h" fact="0.0908"/>
          <dgm:constr type="w" for="ch" forName="imageaccent3" refType="w" fact="0.0166"/>
          <dgm:constr type="h" for="ch" forName="imageaccent3" refType="h" fact="0.024"/>
          <dgm:constr type="l" for="ch" forName="textaccent4" refType="w" fact="0.491"/>
          <dgm:constr type="t" for="ch" forName="textaccent4" refType="h" fact="0.2042"/>
          <dgm:constr type="w" for="ch" forName="textaccent4" refType="w" fact="0.0166"/>
          <dgm:constr type="h" for="ch" forName="textaccent4" refType="h" fact="0.024"/>
          <dgm:constr type="l" for="ch" forName="imageaccent4" refType="w" fact="0.5181"/>
          <dgm:constr type="t" for="ch" forName="imageaccent4" refType="h" fact="0.2323"/>
          <dgm:constr type="w" for="ch" forName="imageaccent4" refType="w" fact="0.0166"/>
          <dgm:constr type="h" for="ch" forName="imageaccent4" refType="h" fact="0.024"/>
          <dgm:constr type="l" for="ch" forName="textaccent5" refType="w" fact="0.6136"/>
          <dgm:constr type="t" for="ch" forName="textaccent5" refType="h" fact="0.094"/>
          <dgm:constr type="w" for="ch" forName="textaccent5" refType="w" fact="0.0166"/>
          <dgm:constr type="h" for="ch" forName="textaccent5" refType="h" fact="0.024"/>
          <dgm:constr type="l" for="ch" forName="imageaccent5" refType="w" fact="0.6413"/>
          <dgm:constr type="t" for="ch" forName="imageaccent5" refType="h" fact="0.121"/>
          <dgm:constr type="w" for="ch" forName="imageaccent5" refType="w" fact="0.0166"/>
          <dgm:constr type="h" for="ch" forName="imageaccent5" refType="h" fact="0.024"/>
          <dgm:constr type="l" for="ch" forName="image6" refType="w" fact="0.4903"/>
          <dgm:constr type="t" for="ch" forName="image6" refType="h" fact="0.4548"/>
          <dgm:constr type="w" for="ch" forName="image6" refType="w" fact="0.1425"/>
          <dgm:constr type="h" for="ch" forName="image6" refType="h" fact="0.2049"/>
          <dgm:constr type="l" for="ch" forName="text6" refType="w" fact="0.6129"/>
          <dgm:constr type="t" for="ch" forName="text6" refType="h" fact="0.3426"/>
          <dgm:constr type="w" for="ch" forName="text6" refType="w" fact="0.1425"/>
          <dgm:constr type="h" for="ch" forName="text6" refType="h" fact="0.2049"/>
          <dgm:constr type="l" for="ch" forName="imageaccent6" refType="w" fact="0.6147"/>
          <dgm:constr type="t" for="ch" forName="imageaccent6" refType="h" fact="0.5447"/>
          <dgm:constr type="w" for="ch" forName="imageaccent6" refType="w" fact="0.0166"/>
          <dgm:constr type="h" for="ch" forName="imageaccent6" refType="h" fact="0.024"/>
          <dgm:constr type="l" for="ch" forName="textaccent6" refType="w" fact="0.6411"/>
          <dgm:constr type="t" for="ch" forName="textaccent6" refType="h" fact="0.5221"/>
          <dgm:constr type="w" for="ch" forName="textaccent6" refType="w" fact="0.0166"/>
          <dgm:constr type="h" for="ch" forName="textaccent6" refType="h" fact="0.024"/>
          <dgm:constr type="l" for="ch" forName="text7" refType="w" fact="0.2451"/>
          <dgm:constr type="t" for="ch" forName="text7" refType="h" fact="0.4535"/>
          <dgm:constr type="w" for="ch" forName="text7" refType="w" fact="0.1425"/>
          <dgm:constr type="h" for="ch" forName="text7" refType="h" fact="0.2049"/>
          <dgm:constr type="l" for="ch" forName="image7" refType="w" fact="0.1225"/>
          <dgm:constr type="t" for="ch" forName="image7" refType="h" fact="0.5674"/>
          <dgm:constr type="w" for="ch" forName="image7" refType="w" fact="0.1425"/>
          <dgm:constr type="h" for="ch" forName="image7" refType="h" fact="0.2049"/>
          <dgm:constr type="l" for="ch" forName="imageaccent7" refType="w" fact="0.2195"/>
          <dgm:constr type="t" for="ch" forName="imageaccent7" refType="h" fact="0.5703"/>
          <dgm:constr type="w" for="ch" forName="imageaccent7" refType="w" fact="0.0166"/>
          <dgm:constr type="h" for="ch" forName="imageaccent7" refType="h" fact="0.024"/>
          <dgm:constr type="l" for="ch" forName="textaccent7" refType="w" fact="0.2491"/>
          <dgm:constr type="t" for="ch" forName="textaccent7" refType="h" fact="0.5443"/>
          <dgm:constr type="w" for="ch" forName="textaccent7" refType="w" fact="0.0166"/>
          <dgm:constr type="h" for="ch" forName="textaccent7" refType="h" fact="0.024"/>
          <dgm:constr type="l" for="ch" forName="image8" refType="w" fact="0.6123"/>
          <dgm:constr type="t" for="ch" forName="image8" refType="h" fact="0.5696"/>
          <dgm:constr type="w" for="ch" forName="image8" refType="w" fact="0.1425"/>
          <dgm:constr type="h" for="ch" forName="image8" refType="h" fact="0.2049"/>
          <dgm:constr type="l" for="ch" forName="text8" refType="w" fact="0.7349"/>
          <dgm:constr type="t" for="ch" forName="text8" refType="h" fact="0.4574"/>
          <dgm:constr type="w" for="ch" forName="text8" refType="w" fact="0.1425"/>
          <dgm:constr type="h" for="ch" forName="text8" refType="h" fact="0.2049"/>
          <dgm:constr type="l" for="ch" forName="imageaccent8" refType="w" fact="0.7367"/>
          <dgm:constr type="t" for="ch" forName="imageaccent8" refType="h" fact="0.6595"/>
          <dgm:constr type="w" for="ch" forName="imageaccent8" refType="w" fact="0.0166"/>
          <dgm:constr type="h" for="ch" forName="imageaccent8" refType="h" fact="0.024"/>
          <dgm:constr type="l" for="ch" forName="textaccent8" refType="w" fact="0.7631"/>
          <dgm:constr type="t" for="ch" forName="textaccent8" refType="h" fact="0.6369"/>
          <dgm:constr type="w" for="ch" forName="textaccent8" refType="w" fact="0.0166"/>
          <dgm:constr type="h" for="ch" forName="textaccent8" refType="h" fact="0.024"/>
          <dgm:constr type="l" for="ch" forName="text9" refType="w" fact="0.7354"/>
          <dgm:constr type="t" for="ch" forName="text9" refType="h" fact="0.0044"/>
          <dgm:constr type="w" for="ch" forName="text9" refType="w" fact="0.1425"/>
          <dgm:constr type="h" for="ch" forName="text9" refType="h" fact="0.2049"/>
          <dgm:constr type="l" for="ch" forName="textaccent9" refType="w" fact="0.8339"/>
          <dgm:constr type="t" for="ch" forName="textaccent9" refType="h" fact="0.1846"/>
          <dgm:constr type="w" for="ch" forName="textaccent9" refType="w" fact="0.0166"/>
          <dgm:constr type="h" for="ch" forName="textaccent9" refType="h" fact="0.024"/>
          <dgm:constr type="l" for="ch" forName="image9" refType="w" fact="0.7354"/>
          <dgm:constr type="t" for="ch" forName="image9" refType="h" fact="0.2306"/>
          <dgm:constr type="w" for="ch" forName="image9" refType="w" fact="0.1425"/>
          <dgm:constr type="h" for="ch" forName="image9" refType="h" fact="0.2049"/>
          <dgm:constr type="l" for="ch" forName="imageaccent9" refType="w" fact="0.8339"/>
          <dgm:constr type="t" for="ch" forName="imageaccent9" refType="h" fact="0.2318"/>
          <dgm:constr type="w" for="ch" forName="imageaccent9" refType="w" fact="0.0166"/>
          <dgm:constr type="h" for="ch" forName="imageaccent9" refType="h" fact="0.024"/>
          <dgm:constr type="l" for="ch" forName="image10" refType="w" fact="0.2446"/>
          <dgm:constr type="t" for="ch" forName="image10" refType="h" fact="0.6805"/>
          <dgm:constr type="w" for="ch" forName="image10" refType="w" fact="0.1425"/>
          <dgm:constr type="h" for="ch" forName="image10" refType="h" fact="0.2049"/>
          <dgm:constr type="l" for="ch" forName="text10" refType="w" fact="0.3672"/>
          <dgm:constr type="t" for="ch" forName="text10" refType="h" fact="0.5683"/>
          <dgm:constr type="w" for="ch" forName="text10" refType="w" fact="0.1425"/>
          <dgm:constr type="h" for="ch" forName="text10" refType="h" fact="0.2049"/>
          <dgm:constr type="l" for="ch" forName="imageaccent10" refType="w" fact="0.369"/>
          <dgm:constr type="t" for="ch" forName="imageaccent10" refType="h" fact="0.7704"/>
          <dgm:constr type="w" for="ch" forName="imageaccent10" refType="w" fact="0.0166"/>
          <dgm:constr type="h" for="ch" forName="imageaccent10" refType="h" fact="0.024"/>
          <dgm:constr type="l" for="ch" forName="textaccent10" refType="w" fact="0.3954"/>
          <dgm:constr type="t" for="ch" forName="textaccent10" refType="h" fact="0.7478"/>
          <dgm:constr type="w" for="ch" forName="textaccent10" refType="w" fact="0.0166"/>
          <dgm:constr type="h" for="ch" forName="textaccent10" refType="h" fact="0.024"/>
          <dgm:constr type="l" for="ch" forName="text11" refType="w" fact="0.612"/>
          <dgm:constr type="t" for="ch" forName="text11" refType="h" fact="0.7951"/>
          <dgm:constr type="w" for="ch" forName="text11" refType="w" fact="0.1425"/>
          <dgm:constr type="h" for="ch" forName="text11" refType="h" fact="0.2049"/>
          <dgm:constr type="l" for="ch" forName="image11" refType="w" fact="0.4894"/>
          <dgm:constr type="t" for="ch" forName="image11" refType="h" fact="0.6816"/>
          <dgm:constr type="w" for="ch" forName="image11" refType="w" fact="0.1425"/>
          <dgm:constr type="h" for="ch" forName="image11" refType="h" fact="0.2049"/>
          <dgm:constr type="l" for="ch" forName="imageaccent11" refType="w" fact="0.5874"/>
          <dgm:constr type="t" for="ch" forName="imageaccent11" refType="h" fact="0.8589"/>
          <dgm:constr type="w" for="ch" forName="imageaccent11" refType="w" fact="0.0166"/>
          <dgm:constr type="h" for="ch" forName="imageaccent11" refType="h" fact="0.024"/>
          <dgm:constr type="l" for="ch" forName="textaccent11" refType="w" fact="0.6154"/>
          <dgm:constr type="t" for="ch" forName="textaccent11" refType="h" fact="0.8863"/>
          <dgm:constr type="w" for="ch" forName="textaccent11" refType="w" fact="0.0166"/>
          <dgm:constr type="h" for="ch" forName="textaccent11" refType="h" fact="0.024"/>
          <dgm:constr type="l" for="ch" forName="text12" refType="w" fact="0.735"/>
          <dgm:constr type="t" for="ch" forName="text12" refType="h" fact="0.684"/>
          <dgm:constr type="w" for="ch" forName="text12" refType="w" fact="0.1425"/>
          <dgm:constr type="h" for="ch" forName="text12" refType="h" fact="0.2049"/>
          <dgm:constr type="l" for="ch" forName="image12" refType="w" fact="0.8575"/>
          <dgm:constr type="t" for="ch" forName="image12" refType="h" fact="0.5718"/>
          <dgm:constr type="w" for="ch" forName="image12" refType="w" fact="0.1425"/>
          <dgm:constr type="h" for="ch" forName="image12" refType="h" fact="0.2049"/>
          <dgm:constr type="l" for="ch" forName="textaccent12" refType="w" fact="0.8594"/>
          <dgm:constr type="t" for="ch" forName="textaccent12" refType="h" fact="0.7739"/>
          <dgm:constr type="w" for="ch" forName="textaccent12" refType="w" fact="0.0166"/>
          <dgm:constr type="h" for="ch" forName="textaccent12" refType="h" fact="0.024"/>
          <dgm:constr type="l" for="ch" forName="imageaccent12" refType="w" fact="0.8858"/>
          <dgm:constr type="t" for="ch" forName="imageaccent12" refType="h" fact="0.7513"/>
          <dgm:constr type="w" for="ch" forName="imageaccent12" refType="w" fact="0.0166"/>
          <dgm:constr type="h" for="ch" forName="imageaccent12" refType="h" fact="0.024"/>
        </dgm:constrLst>
      </dgm:else>
    </dgm:choose>
    <dgm:forEach name="wrapper" axis="self" ptType="parTrans">
      <dgm:forEach name="wrapper2" axis="self" ptType="sibTrans" st="2">
        <dgm:forEach name="textRepeat" axis="self">
          <dgm:layoutNode name="textRepeatNode" styleLbl="alignNode1">
            <dgm:varLst>
              <dgm:chMax val="0"/>
              <dgm:chPref val="0"/>
              <dgm:bulletEnabled val="1"/>
            </dgm:varLst>
            <dgm:alg type="tx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.1"/>
              <dgm:constr type="bMarg" refType="primFontSz" fact="0.1"/>
            </dgm:constrLst>
            <dgm:ruleLst>
              <dgm:rule type="primFontSz" val="5" fact="NaN" max="NaN"/>
            </dgm:ruleLst>
          </dgm:layoutNode>
        </dgm:forEach>
        <dgm:forEach name="accentRepeat" axis="self">
          <dgm:layoutNode name="accentRepeatNode" styleLbl="solidAlignAcc1">
            <dgm:alg type="sp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/>
          </dgm:layoutNode>
        </dgm:forEach>
        <dgm:forEach name="imageRepeat" axis="self">
          <dgm:layoutNode name="imageRepeatNode" styleLbl="alignAcc1">
            <dgm:alg type="sp"/>
            <dgm:shape xmlns:r="http://schemas.openxmlformats.org/officeDocument/2006/relationships" type="hexagon" r:blip="" blipPhldr="1">
              <dgm:adjLst>
                <dgm:adj idx="1" val="0.25"/>
                <dgm:adj idx="2" val="1.1547"/>
              </dgm:adjLst>
            </dgm:shape>
            <dgm:presOf axis="self"/>
          </dgm:layoutNode>
        </dgm:forEach>
      </dgm:forEach>
    </dgm:forEach>
    <dgm:forEach name="Name14" axis="ch" ptType="node" cnt="1">
      <dgm:layoutNode name="text1">
        <dgm:alg type="sp"/>
        <dgm:shape xmlns:r="http://schemas.openxmlformats.org/officeDocument/2006/relationships" r:blip="">
          <dgm:adjLst/>
        </dgm:shape>
        <dgm:presOf/>
        <dgm:constrLst/>
        <dgm:forEach name="Name15" ref="textRepeat"/>
      </dgm:layoutNode>
      <dgm:layoutNode name="textaccent1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"/>
      </dgm:layoutNode>
    </dgm:forEach>
    <dgm:forEach name="Name17" axis="ch" ptType="sibTrans" hideLastTrans="0" cnt="1">
      <dgm:layoutNode name="image1">
        <dgm:alg type="sp"/>
        <dgm:shape xmlns:r="http://schemas.openxmlformats.org/officeDocument/2006/relationships" r:blip="">
          <dgm:adjLst/>
        </dgm:shape>
        <dgm:presOf/>
        <dgm:constrLst/>
        <dgm:forEach name="Name18" ref="imageRepeat"/>
      </dgm:layoutNode>
      <dgm:layoutNode name="imageaccent1">
        <dgm:alg type="sp"/>
        <dgm:shape xmlns:r="http://schemas.openxmlformats.org/officeDocument/2006/relationships" r:blip="">
          <dgm:adjLst/>
        </dgm:shape>
        <dgm:presOf/>
        <dgm:constrLst/>
        <dgm:forEach name="Name19" ref="accentRepeat"/>
      </dgm:layoutNode>
    </dgm:forEach>
    <dgm:forEach name="Name20" axis="ch" ptType="node" st="2" cnt="1">
      <dgm:layoutNode name="text2">
        <dgm:alg type="sp"/>
        <dgm:shape xmlns:r="http://schemas.openxmlformats.org/officeDocument/2006/relationships" r:blip="">
          <dgm:adjLst/>
        </dgm:shape>
        <dgm:presOf/>
        <dgm:constrLst/>
        <dgm:forEach name="Name21" ref="textRepeat"/>
      </dgm:layoutNode>
      <dgm:layoutNode name="textaccent2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"/>
      </dgm:layoutNode>
    </dgm:forEach>
    <dgm:forEach name="Name23" axis="ch" ptType="sibTrans" hideLastTrans="0" st="2" cnt="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24" ref="imageRepeat"/>
      </dgm:layoutNode>
      <dgm:layoutNode name="imageaccent2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"/>
      </dgm:layoutNode>
    </dgm:forEach>
    <dgm:forEach name="Name26" axis="ch" ptType="node" st="3" cnt="1">
      <dgm:layoutNode name="text3">
        <dgm:alg type="sp"/>
        <dgm:shape xmlns:r="http://schemas.openxmlformats.org/officeDocument/2006/relationships" r:blip="">
          <dgm:adjLst/>
        </dgm:shape>
        <dgm:presOf/>
        <dgm:constrLst/>
        <dgm:forEach name="Name27" ref="textRepeat"/>
      </dgm:layoutNode>
      <dgm:layoutNode name="textaccent3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</dgm:forEach>
    <dgm:forEach name="Name29" axis="ch" ptType="sibTrans" hideLastTrans="0" st="3" cnt="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30" ref="imageRepeat"/>
      </dgm:layoutNode>
      <dgm:layoutNode name="imageaccent3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4" cnt="1">
      <dgm:layoutNode name="text4">
        <dgm:alg type="sp"/>
        <dgm:shape xmlns:r="http://schemas.openxmlformats.org/officeDocument/2006/relationships" r:blip="">
          <dgm:adjLst/>
        </dgm:shape>
        <dgm:presOf/>
        <dgm:constrLst/>
        <dgm:forEach name="Name33" ref="textRepeat"/>
      </dgm:layoutNode>
      <dgm:layoutNode name="textaccent4">
        <dgm:alg type="sp"/>
        <dgm:shape xmlns:r="http://schemas.openxmlformats.org/officeDocument/2006/relationships" r:blip="">
          <dgm:adjLst/>
        </dgm:shape>
        <dgm:presOf/>
        <dgm:constrLst/>
        <dgm:forEach name="Name34" ref="accentRepeat"/>
      </dgm:layoutNode>
    </dgm:forEach>
    <dgm:forEach name="Name35" axis="ch" ptType="sibTrans" hideLastTrans="0" st="4" cnt="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36" ref="imageRepeat"/>
      </dgm:layoutNode>
      <dgm:layoutNode name="imageaccent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text5">
        <dgm:alg type="sp"/>
        <dgm:shape xmlns:r="http://schemas.openxmlformats.org/officeDocument/2006/relationships" r:blip="">
          <dgm:adjLst/>
        </dgm:shape>
        <dgm:presOf/>
        <dgm:constrLst/>
        <dgm:forEach name="Name39" ref="textRepeat"/>
      </dgm:layoutNode>
      <dgm:layoutNode name="textaccent5">
        <dgm:alg type="sp"/>
        <dgm:shape xmlns:r="http://schemas.openxmlformats.org/officeDocument/2006/relationships" r:blip="">
          <dgm:adjLst/>
        </dgm:shape>
        <dgm:presOf/>
        <dgm:constrLst/>
        <dgm:forEach name="Name40" ref="accentRepeat"/>
      </dgm:layoutNode>
    </dgm:forEach>
    <dgm:forEach name="Name41" axis="ch" ptType="sibTrans" hideLastTrans="0" st="5" cnt="1">
      <dgm:layoutNode name="image5">
        <dgm:alg type="sp"/>
        <dgm:shape xmlns:r="http://schemas.openxmlformats.org/officeDocument/2006/relationships" r:blip="">
          <dgm:adjLst/>
        </dgm:shape>
        <dgm:presOf/>
        <dgm:constrLst/>
        <dgm:forEach name="Name42" ref="imageRepeat"/>
      </dgm:layoutNode>
      <dgm:layoutNode name="imageaccent5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  <dgm:forEach name="Name44" axis="ch" ptType="node" st="6" cnt="1">
      <dgm:layoutNode name="text6">
        <dgm:alg type="sp"/>
        <dgm:shape xmlns:r="http://schemas.openxmlformats.org/officeDocument/2006/relationships" r:blip="">
          <dgm:adjLst/>
        </dgm:shape>
        <dgm:presOf/>
        <dgm:constrLst/>
        <dgm:forEach name="Name45" ref="textRepeat"/>
      </dgm:layoutNode>
      <dgm:layoutNode name="textaccent6">
        <dgm:alg type="sp"/>
        <dgm:shape xmlns:r="http://schemas.openxmlformats.org/officeDocument/2006/relationships" r:blip="">
          <dgm:adjLst/>
        </dgm:shape>
        <dgm:presOf/>
        <dgm:constrLst/>
        <dgm:forEach name="Name46" ref="accentRepeat"/>
      </dgm:layoutNode>
    </dgm:forEach>
    <dgm:forEach name="Name47" axis="ch" ptType="sibTrans" hideLastTrans="0" st="6" cnt="1">
      <dgm:layoutNode name="image6">
        <dgm:alg type="sp"/>
        <dgm:shape xmlns:r="http://schemas.openxmlformats.org/officeDocument/2006/relationships" r:blip="">
          <dgm:adjLst/>
        </dgm:shape>
        <dgm:presOf/>
        <dgm:constrLst/>
        <dgm:forEach name="Name48" ref="imageRepeat"/>
      </dgm:layoutNode>
      <dgm:layoutNode name="imageaccent6">
        <dgm:alg type="sp"/>
        <dgm:shape xmlns:r="http://schemas.openxmlformats.org/officeDocument/2006/relationships" r:blip="">
          <dgm:adjLst/>
        </dgm:shape>
        <dgm:presOf/>
        <dgm:constrLst/>
        <dgm:forEach name="Name49" ref="accentRepeat"/>
      </dgm:layoutNode>
    </dgm:forEach>
    <dgm:forEach name="Name50" axis="ch" ptType="node" st="7" cnt="1">
      <dgm:layoutNode name="text7">
        <dgm:alg type="sp"/>
        <dgm:shape xmlns:r="http://schemas.openxmlformats.org/officeDocument/2006/relationships" r:blip="">
          <dgm:adjLst/>
        </dgm:shape>
        <dgm:presOf/>
        <dgm:constrLst/>
        <dgm:forEach name="Name51" ref="textRepeat"/>
      </dgm:layoutNode>
      <dgm:layoutNode name="textaccent7">
        <dgm:alg type="sp"/>
        <dgm:shape xmlns:r="http://schemas.openxmlformats.org/officeDocument/2006/relationships" r:blip="">
          <dgm:adjLst/>
        </dgm:shape>
        <dgm:presOf/>
        <dgm:constrLst/>
        <dgm:forEach name="Name52" ref="accentRepeat"/>
      </dgm:layoutNode>
    </dgm:forEach>
    <dgm:forEach name="Name53" axis="ch" ptType="sibTrans" hideLastTrans="0" st="7" cnt="1">
      <dgm:layoutNode name="image7">
        <dgm:alg type="sp"/>
        <dgm:shape xmlns:r="http://schemas.openxmlformats.org/officeDocument/2006/relationships" r:blip="">
          <dgm:adjLst/>
        </dgm:shape>
        <dgm:presOf/>
        <dgm:constrLst/>
        <dgm:forEach name="Name54" ref="imageRepeat"/>
      </dgm:layoutNode>
      <dgm:layoutNode name="imageaccent7">
        <dgm:alg type="sp"/>
        <dgm:shape xmlns:r="http://schemas.openxmlformats.org/officeDocument/2006/relationships" r:blip="">
          <dgm:adjLst/>
        </dgm:shape>
        <dgm:presOf/>
        <dgm:constrLst/>
        <dgm:forEach name="Name55" ref="accentRepeat"/>
      </dgm:layoutNode>
    </dgm:forEach>
    <dgm:forEach name="Name56" axis="ch" ptType="node" st="8" cnt="1">
      <dgm:layoutNode name="text8">
        <dgm:alg type="sp"/>
        <dgm:shape xmlns:r="http://schemas.openxmlformats.org/officeDocument/2006/relationships" r:blip="">
          <dgm:adjLst/>
        </dgm:shape>
        <dgm:presOf/>
        <dgm:constrLst/>
        <dgm:forEach name="Name57" ref="textRepeat"/>
      </dgm:layoutNode>
      <dgm:layoutNode name="textaccent8">
        <dgm:alg type="sp"/>
        <dgm:shape xmlns:r="http://schemas.openxmlformats.org/officeDocument/2006/relationships" r:blip="">
          <dgm:adjLst/>
        </dgm:shape>
        <dgm:presOf/>
        <dgm:constrLst/>
        <dgm:forEach name="Name58" ref="accentRepeat"/>
      </dgm:layoutNode>
    </dgm:forEach>
    <dgm:forEach name="Name59" axis="ch" ptType="sibTrans" hideLastTrans="0" st="8" cnt="1">
      <dgm:layoutNode name="image8">
        <dgm:alg type="sp"/>
        <dgm:shape xmlns:r="http://schemas.openxmlformats.org/officeDocument/2006/relationships" r:blip="">
          <dgm:adjLst/>
        </dgm:shape>
        <dgm:presOf/>
        <dgm:constrLst/>
        <dgm:forEach name="Name60" ref="imageRepeat"/>
      </dgm:layoutNode>
      <dgm:layoutNode name="imageaccent8">
        <dgm:alg type="sp"/>
        <dgm:shape xmlns:r="http://schemas.openxmlformats.org/officeDocument/2006/relationships" r:blip="">
          <dgm:adjLst/>
        </dgm:shape>
        <dgm:presOf/>
        <dgm:constrLst/>
        <dgm:forEach name="Name61" ref="accentRepeat"/>
      </dgm:layoutNode>
    </dgm:forEach>
    <dgm:forEach name="Name62" axis="ch" ptType="node" st="9" cnt="1">
      <dgm:layoutNode name="text9">
        <dgm:alg type="sp"/>
        <dgm:shape xmlns:r="http://schemas.openxmlformats.org/officeDocument/2006/relationships" r:blip="">
          <dgm:adjLst/>
        </dgm:shape>
        <dgm:presOf/>
        <dgm:constrLst/>
        <dgm:forEach name="Name63" ref="textRepeat"/>
      </dgm:layoutNode>
      <dgm:layoutNode name="textaccent9">
        <dgm:alg type="sp"/>
        <dgm:shape xmlns:r="http://schemas.openxmlformats.org/officeDocument/2006/relationships" r:blip="">
          <dgm:adjLst/>
        </dgm:shape>
        <dgm:presOf/>
        <dgm:constrLst/>
        <dgm:forEach name="Name64" ref="accentRepeat"/>
      </dgm:layoutNode>
    </dgm:forEach>
    <dgm:forEach name="Name65" axis="ch" ptType="sibTrans" hideLastTrans="0" st="9" cnt="1">
      <dgm:layoutNode name="image9">
        <dgm:alg type="sp"/>
        <dgm:shape xmlns:r="http://schemas.openxmlformats.org/officeDocument/2006/relationships" r:blip="">
          <dgm:adjLst/>
        </dgm:shape>
        <dgm:presOf/>
        <dgm:constrLst/>
        <dgm:forEach name="Name66" ref="imageRepeat"/>
      </dgm:layoutNode>
      <dgm:layoutNode name="imageaccent9">
        <dgm:alg type="sp"/>
        <dgm:shape xmlns:r="http://schemas.openxmlformats.org/officeDocument/2006/relationships" r:blip="">
          <dgm:adjLst/>
        </dgm:shape>
        <dgm:presOf/>
        <dgm:constrLst/>
        <dgm:forEach name="Name67" ref="accentRepeat"/>
      </dgm:layoutNode>
    </dgm:forEach>
    <dgm:forEach name="Name68" axis="ch" ptType="node" st="10" cnt="1">
      <dgm:layoutNode name="text10">
        <dgm:alg type="sp"/>
        <dgm:shape xmlns:r="http://schemas.openxmlformats.org/officeDocument/2006/relationships" r:blip="">
          <dgm:adjLst/>
        </dgm:shape>
        <dgm:presOf/>
        <dgm:constrLst/>
        <dgm:forEach name="Name69" ref="textRepeat"/>
      </dgm:layoutNode>
      <dgm:layoutNode name="textaccent10">
        <dgm:alg type="sp"/>
        <dgm:shape xmlns:r="http://schemas.openxmlformats.org/officeDocument/2006/relationships" r:blip="">
          <dgm:adjLst/>
        </dgm:shape>
        <dgm:presOf/>
        <dgm:constrLst/>
        <dgm:forEach name="Name70" ref="accentRepeat"/>
      </dgm:layoutNode>
    </dgm:forEach>
    <dgm:forEach name="Name71" axis="ch" ptType="sibTrans" hideLastTrans="0" st="10" cnt="1">
      <dgm:layoutNode name="image10">
        <dgm:alg type="sp"/>
        <dgm:shape xmlns:r="http://schemas.openxmlformats.org/officeDocument/2006/relationships" r:blip="">
          <dgm:adjLst/>
        </dgm:shape>
        <dgm:presOf/>
        <dgm:constrLst/>
        <dgm:forEach name="Name72" ref="imageRepeat"/>
      </dgm:layoutNode>
      <dgm:layoutNode name="imageaccent10">
        <dgm:alg type="sp"/>
        <dgm:shape xmlns:r="http://schemas.openxmlformats.org/officeDocument/2006/relationships" r:blip="">
          <dgm:adjLst/>
        </dgm:shape>
        <dgm:presOf/>
        <dgm:constrLst/>
        <dgm:forEach name="Name73" ref="accentRepeat"/>
      </dgm:layoutNode>
    </dgm:forEach>
    <dgm:forEach name="Name74" axis="ch" ptType="node" st="11" cnt="1">
      <dgm:layoutNode name="text11">
        <dgm:alg type="sp"/>
        <dgm:shape xmlns:r="http://schemas.openxmlformats.org/officeDocument/2006/relationships" r:blip="">
          <dgm:adjLst/>
        </dgm:shape>
        <dgm:presOf/>
        <dgm:constrLst/>
        <dgm:forEach name="Name75" ref="textRepeat"/>
      </dgm:layoutNode>
      <dgm:layoutNode name="textaccent1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</dgm:forEach>
    <dgm:forEach name="Name77" axis="ch" ptType="sibTrans" hideLastTrans="0" st="11" cnt="1">
      <dgm:layoutNode name="image11">
        <dgm:alg type="sp"/>
        <dgm:shape xmlns:r="http://schemas.openxmlformats.org/officeDocument/2006/relationships" r:blip="">
          <dgm:adjLst/>
        </dgm:shape>
        <dgm:presOf/>
        <dgm:constrLst/>
        <dgm:forEach name="Name78" ref="imageRepeat"/>
      </dgm:layoutNode>
      <dgm:layoutNode name="imageaccent11">
        <dgm:alg type="sp"/>
        <dgm:shape xmlns:r="http://schemas.openxmlformats.org/officeDocument/2006/relationships" r:blip="">
          <dgm:adjLst/>
        </dgm:shape>
        <dgm:presOf/>
        <dgm:constrLst/>
        <dgm:forEach name="Name79" ref="accentRepeat"/>
      </dgm:layoutNode>
    </dgm:forEach>
    <dgm:forEach name="Name80" axis="ch" ptType="node" st="12" cnt="1">
      <dgm:layoutNode name="text12">
        <dgm:alg type="sp"/>
        <dgm:shape xmlns:r="http://schemas.openxmlformats.org/officeDocument/2006/relationships" r:blip="">
          <dgm:adjLst/>
        </dgm:shape>
        <dgm:presOf/>
        <dgm:constrLst/>
        <dgm:forEach name="Name81" ref="textRepeat"/>
      </dgm:layoutNode>
      <dgm:layoutNode name="textaccent12">
        <dgm:alg type="sp"/>
        <dgm:shape xmlns:r="http://schemas.openxmlformats.org/officeDocument/2006/relationships" r:blip="">
          <dgm:adjLst/>
        </dgm:shape>
        <dgm:presOf/>
        <dgm:constrLst/>
        <dgm:forEach name="Name82" ref="accentRepeat"/>
      </dgm:layoutNode>
    </dgm:forEach>
    <dgm:forEach name="Name83" axis="ch" ptType="sibTrans" hideLastTrans="0" st="12" cnt="1">
      <dgm:layoutNode name="image12">
        <dgm:alg type="sp"/>
        <dgm:shape xmlns:r="http://schemas.openxmlformats.org/officeDocument/2006/relationships" r:blip="">
          <dgm:adjLst/>
        </dgm:shape>
        <dgm:presOf/>
        <dgm:constrLst/>
        <dgm:forEach name="Name84" ref="imageRepeat"/>
      </dgm:layoutNode>
      <dgm:layoutNode name="imageaccent12">
        <dgm:alg type="sp"/>
        <dgm:shape xmlns:r="http://schemas.openxmlformats.org/officeDocument/2006/relationships" r:blip="">
          <dgm:adjLst/>
        </dgm:shape>
        <dgm:presOf/>
        <dgm:constrLst/>
        <dgm:forEach name="Name85" ref="accentRepeat"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0525" cy="496888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29051" y="0"/>
            <a:ext cx="2930525" cy="496888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r">
              <a:defRPr sz="1200"/>
            </a:lvl1pPr>
          </a:lstStyle>
          <a:p>
            <a:fld id="{5A877F34-D79D-401F-A930-B7A6A9EA08FA}" type="datetimeFigureOut">
              <a:rPr lang="ru-RU" smtClean="0"/>
              <a:t>10.02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4039"/>
            <a:ext cx="2930525" cy="496887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29051" y="9444039"/>
            <a:ext cx="2930525" cy="496887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r">
              <a:defRPr sz="1200"/>
            </a:lvl1pPr>
          </a:lstStyle>
          <a:p>
            <a:fld id="{563265FD-84AB-462A-913E-46AB06D97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56796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4"/>
            <a:ext cx="2929837" cy="497125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4" y="4"/>
            <a:ext cx="2929837" cy="497125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849B7AA-B392-47E8-A3BA-B6CD61B92526}" type="datetimeFigureOut">
              <a:rPr lang="ru-RU"/>
              <a:pPr>
                <a:defRPr/>
              </a:pPr>
              <a:t>10.02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5088" y="744538"/>
            <a:ext cx="6630987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3" tIns="45717" rIns="91433" bIns="45717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22694"/>
            <a:ext cx="5408930" cy="4474130"/>
          </a:xfrm>
          <a:prstGeom prst="rect">
            <a:avLst/>
          </a:prstGeom>
        </p:spPr>
        <p:txBody>
          <a:bodyPr vert="horz" lIns="91433" tIns="45717" rIns="91433" bIns="45717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43664"/>
            <a:ext cx="2929837" cy="497125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4" y="9443664"/>
            <a:ext cx="2929837" cy="497125"/>
          </a:xfrm>
          <a:prstGeom prst="rect">
            <a:avLst/>
          </a:prstGeom>
        </p:spPr>
        <p:txBody>
          <a:bodyPr vert="horz" wrap="square" lIns="91433" tIns="45717" rIns="91433" bIns="45717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FE22BA55-2BD4-4EFD-BB76-5FDE07F5E75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236930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9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fld id="{206F30F6-F3F6-4D07-904F-A2BE53F9AB9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72739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" y="755650"/>
            <a:ext cx="6613525" cy="3721100"/>
          </a:xfrm>
          <a:solidFill>
            <a:srgbClr val="FFFFFF"/>
          </a:solidFill>
          <a:ln/>
        </p:spPr>
      </p:sp>
      <p:sp>
        <p:nvSpPr>
          <p:cNvPr id="372740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450" y="4716463"/>
            <a:ext cx="5435600" cy="4462462"/>
          </a:xfrm>
          <a:noFill/>
          <a:ln/>
        </p:spPr>
        <p:txBody>
          <a:bodyPr wrap="none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94243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026EDEC-F966-4C27-9ED1-CEB381B3E612}" type="slidenum">
              <a:rPr lang="ru-RU" smtClean="0"/>
              <a:pPr>
                <a:defRPr/>
              </a:pPr>
              <a:t>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318332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E22BA55-2BD4-4EFD-BB76-5FDE07F5E75F}" type="slidenum">
              <a:rPr lang="ru-RU" smtClean="0"/>
              <a:pPr>
                <a:defRPr/>
              </a:pPr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830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Средний возраст 9 лет, без учета ГЭТ 140 – 5,6 года</a:t>
            </a:r>
          </a:p>
          <a:p>
            <a:r>
              <a:rPr lang="ru-RU" dirty="0"/>
              <a:t>После совершенствования в 2022 – 7,3 и 3,9 соответственно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E22BA55-2BD4-4EFD-BB76-5FDE07F5E75F}" type="slidenum">
              <a:rPr lang="ru-RU" smtClean="0"/>
              <a:pPr>
                <a:defRPr/>
              </a:pPr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04426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E22BA55-2BD4-4EFD-BB76-5FDE07F5E75F}" type="slidenum">
              <a:rPr lang="ru-RU" smtClean="0"/>
              <a:pPr>
                <a:defRPr/>
              </a:pPr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04978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E22BA55-2BD4-4EFD-BB76-5FDE07F5E75F}" type="slidenum">
              <a:rPr lang="ru-RU" smtClean="0"/>
              <a:pPr>
                <a:defRPr/>
              </a:pPr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99784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lnSpc>
                <a:spcPct val="115000"/>
              </a:lnSpc>
            </a:pPr>
            <a:r>
              <a:rPr lang="ru-RU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Основные требования к </a:t>
            </a:r>
            <a:r>
              <a:rPr lang="ru-RU" sz="18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магнитомягким</a:t>
            </a:r>
            <a:r>
              <a:rPr lang="ru-RU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материалам заключаются в следующем: большие значения амплитуды магнитной индукции при заданных значениях амплитуды напряжённости магнитного поля и малые значения потерь на вихревые токи и гистерезис.</a:t>
            </a:r>
          </a:p>
          <a:p>
            <a:pPr algn="just">
              <a:lnSpc>
                <a:spcPct val="115000"/>
              </a:lnSpc>
            </a:pPr>
            <a:r>
              <a:rPr lang="ru-RU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К промышленным МММ относится, прежде всего, электротехническая сталь. Объём производства и потребления электротехнической стали практически пропорционален количеству вырабатываемой электроэнергии, а этот показатель характеризует уровень промышленного развития страны.</a:t>
            </a:r>
          </a:p>
          <a:p>
            <a:pPr algn="just">
              <a:lnSpc>
                <a:spcPct val="115000"/>
              </a:lnSpc>
            </a:pPr>
            <a:r>
              <a:rPr lang="ru-RU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Одной из важнейших динамических характеристик МММ, определяющих качество материалов и изделий из них, является магнитная индукция в динамическом режиме.</a:t>
            </a:r>
          </a:p>
          <a:p>
            <a:pPr marL="0" marR="0" lvl="0" indent="0" algn="just" defTabSz="914400" rtl="0" eaLnBrk="0" fontAlgn="base" latinLnBrk="0" hangingPunct="0">
              <a:lnSpc>
                <a:spcPct val="115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Величина магнитной индукции определяет качество трансформаторов тока и, соответственно, потери энергии при производстве и передаче электроэнергии. Эта характеристика используется в качестве нормативной при классификации марок МММ (ГОСТ 32482‑2013, ГОСТ 21427.2‑83, </a:t>
            </a:r>
            <a:r>
              <a:rPr lang="en-US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DIN EN </a:t>
            </a:r>
            <a:r>
              <a:rPr lang="ru-RU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10303:2016). Потери энергии при её производстве и передаче составляют около 10 %, из них 2‑3 % приходится на потери из-за свойств магнитных материалов, из которых изготовлено оборудование. Улучшение качества электротехнической стали, используемой при производстве трансформаторов и двигателей, позволит уменьшить эти потери энергии и гарантировать стабильную работу оборудования.</a:t>
            </a:r>
          </a:p>
          <a:p>
            <a:pPr algn="just">
              <a:lnSpc>
                <a:spcPct val="115000"/>
              </a:lnSpc>
            </a:pP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E22BA55-2BD4-4EFD-BB76-5FDE07F5E75F}" type="slidenum">
              <a:rPr lang="ru-RU" smtClean="0"/>
              <a:pPr>
                <a:defRPr/>
              </a:pPr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362225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едпосылки к совершенствованию ГЭТ 210-2019</a:t>
            </a:r>
          </a:p>
          <a:p>
            <a:r>
              <a:rPr lang="ru-RU" dirty="0"/>
              <a:t>I Мировая тенденция развития добычи труднодоступных углеводородов как в РФ, так и во всем мире из пластов, которые характеризуются низкими значениями коэффициента газопроницаемости (1·10‑7 -1·10‑3) мкм2</a:t>
            </a:r>
          </a:p>
          <a:p>
            <a:r>
              <a:rPr lang="ru-RU" dirty="0"/>
              <a:t>II Появление широкого парка средств измерений для низких значений коэффициента газопроницаемости на рынке, метрологическое обеспечение которых отсутствует</a:t>
            </a:r>
          </a:p>
          <a:p>
            <a:r>
              <a:rPr lang="ru-RU" dirty="0"/>
              <a:t>III Необходимость  выполнений требований Приказа Минприроды России от 15.05.2014 г. №218, который предусматривает контроль пористости и газопроницаемости горных пород в аккредитованных лабораториях</a:t>
            </a:r>
          </a:p>
          <a:p>
            <a:r>
              <a:rPr lang="ru-RU" dirty="0"/>
              <a:t>IV Обеспечение выполнения </a:t>
            </a:r>
            <a:r>
              <a:rPr lang="ru-RU" dirty="0" err="1"/>
              <a:t>Энергитической</a:t>
            </a:r>
            <a:r>
              <a:rPr lang="ru-RU" dirty="0"/>
              <a:t> стратегии РФ в области введения в оборот малых месторождений и месторождений с ТРИЗ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E22BA55-2BD4-4EFD-BB76-5FDE07F5E75F}" type="slidenum">
              <a:rPr lang="ru-RU" smtClean="0"/>
              <a:pPr>
                <a:defRPr/>
              </a:pPr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89076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22BA55-2BD4-4EFD-BB76-5FDE07F5E75F}" type="slidenum">
              <a:rPr lang="ru-RU" smtClean="0"/>
              <a:pPr>
                <a:defRPr/>
              </a:pPr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679154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E22BA55-2BD4-4EFD-BB76-5FDE07F5E75F}" type="slidenum">
              <a:rPr lang="ru-RU" smtClean="0"/>
              <a:pPr>
                <a:defRPr/>
              </a:pPr>
              <a:t>3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33393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6770" name="Rectangle 9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BF27144-BD25-4549-BBE0-17571E280499}" type="slidenum">
              <a:rPr lang="ru-RU" altLang="ru-RU" smtClean="0">
                <a:cs typeface="Arial" charset="0"/>
              </a:rPr>
              <a:pPr/>
              <a:t>9</a:t>
            </a:fld>
            <a:endParaRPr lang="ru-RU" altLang="ru-RU">
              <a:cs typeface="Arial" charset="0"/>
            </a:endParaRPr>
          </a:p>
        </p:txBody>
      </p:sp>
      <p:sp>
        <p:nvSpPr>
          <p:cNvPr id="416771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" y="755650"/>
            <a:ext cx="6613525" cy="3721100"/>
          </a:xfrm>
          <a:solidFill>
            <a:srgbClr val="FFFFFF"/>
          </a:solidFill>
          <a:ln/>
        </p:spPr>
      </p:sp>
      <p:sp>
        <p:nvSpPr>
          <p:cNvPr id="41677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450" y="4716463"/>
            <a:ext cx="5435600" cy="4462462"/>
          </a:xfrm>
          <a:noFill/>
          <a:ln/>
        </p:spPr>
        <p:txBody>
          <a:bodyPr wrap="none" anchor="ctr"/>
          <a:lstStyle/>
          <a:p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114424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НИИМС пока не переоформил, поэтому во всех справках пока числится по старому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E22BA55-2BD4-4EFD-BB76-5FDE07F5E75F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1071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6770" name="Rectangle 9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BF27144-BD25-4549-BBE0-17571E280499}" type="slidenum">
              <a:rPr lang="ru-RU" altLang="ru-RU" smtClean="0">
                <a:cs typeface="Arial" charset="0"/>
              </a:rPr>
              <a:pPr/>
              <a:t>11</a:t>
            </a:fld>
            <a:endParaRPr lang="ru-RU" altLang="ru-RU">
              <a:cs typeface="Arial" charset="0"/>
            </a:endParaRPr>
          </a:p>
        </p:txBody>
      </p:sp>
      <p:sp>
        <p:nvSpPr>
          <p:cNvPr id="416771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" y="755650"/>
            <a:ext cx="6613525" cy="3721100"/>
          </a:xfrm>
          <a:solidFill>
            <a:srgbClr val="FFFFFF"/>
          </a:solidFill>
          <a:ln/>
        </p:spPr>
      </p:sp>
      <p:sp>
        <p:nvSpPr>
          <p:cNvPr id="41677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450" y="4716463"/>
            <a:ext cx="5435600" cy="4462462"/>
          </a:xfrm>
          <a:noFill/>
          <a:ln/>
        </p:spPr>
        <p:txBody>
          <a:bodyPr wrap="none" anchor="ctr"/>
          <a:lstStyle/>
          <a:p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1722591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E22BA55-2BD4-4EFD-BB76-5FDE07F5E75F}" type="slidenum">
              <a:rPr lang="ru-RU" smtClean="0"/>
              <a:pPr>
                <a:defRPr/>
              </a:pPr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5777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 основном в газовые смеси вносят изменения в описание типа расширяя перечень компонентов внутри уже утвержденного типа (было 38 строк, стало 900), новых действительно мало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E22BA55-2BD4-4EFD-BB76-5FDE07F5E75F}" type="slidenum">
              <a:rPr lang="ru-RU" smtClean="0"/>
              <a:pPr>
                <a:defRPr/>
              </a:pPr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59310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36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E22BA55-2BD4-4EFD-BB76-5FDE07F5E75F}" type="slidenum">
              <a:rPr lang="ru-RU" smtClean="0"/>
              <a:pPr>
                <a:defRPr/>
              </a:pPr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50292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ыделила изменения в статью 5, которые вызывают наибольшие опасения. ГОСТы по которым работает нефтянка и аттестуют СО МЛЭ не внесены в ФИФ, в нефтянке много внесистемных величин (октановое число, кислотность </a:t>
            </a:r>
            <a:r>
              <a:rPr lang="ru-RU" dirty="0" err="1"/>
              <a:t>мгКОН</a:t>
            </a:r>
            <a:r>
              <a:rPr lang="ru-RU" dirty="0"/>
              <a:t>/см3 и </a:t>
            </a:r>
            <a:r>
              <a:rPr lang="ru-RU" dirty="0" err="1"/>
              <a:t>тд</a:t>
            </a:r>
            <a:r>
              <a:rPr lang="ru-RU" dirty="0"/>
              <a:t>)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E22BA55-2BD4-4EFD-BB76-5FDE07F5E75F}" type="slidenum">
              <a:rPr lang="ru-RU" smtClean="0"/>
              <a:pPr>
                <a:defRPr/>
              </a:pPr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32775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Тоже среди всех изменений выделила только те, что вызывают опасение в условиях изменения 102 ФЗ.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E22BA55-2BD4-4EFD-BB76-5FDE07F5E75F}" type="slidenum">
              <a:rPr lang="ru-RU" smtClean="0"/>
              <a:pPr>
                <a:defRPr/>
              </a:pPr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16365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jpe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k object 73">
            <a:extLst>
              <a:ext uri="{FF2B5EF4-FFF2-40B4-BE49-F238E27FC236}">
                <a16:creationId xmlns:a16="http://schemas.microsoft.com/office/drawing/2014/main" id="{0C5BA3AA-AFFE-468D-964A-6FAD47FF0E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0942" y="2392594"/>
            <a:ext cx="76055" cy="94875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334">
              <a:latin typeface="Circe" panose="020F0502020204030204" pitchFamily="34" charset="-52"/>
            </a:endParaRPr>
          </a:p>
        </p:txBody>
      </p:sp>
      <p:sp>
        <p:nvSpPr>
          <p:cNvPr id="4" name="bk object 74">
            <a:extLst>
              <a:ext uri="{FF2B5EF4-FFF2-40B4-BE49-F238E27FC236}">
                <a16:creationId xmlns:a16="http://schemas.microsoft.com/office/drawing/2014/main" id="{FDAEC008-85DE-4934-8D01-2B83C0185A0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5447928" y="2279534"/>
            <a:ext cx="594" cy="1174874"/>
          </a:xfrm>
          <a:prstGeom prst="line">
            <a:avLst/>
          </a:prstGeom>
          <a:noFill/>
          <a:ln w="12700">
            <a:solidFill>
              <a:srgbClr val="004E6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27726" rIns="27726"/>
          <a:lstStyle/>
          <a:p>
            <a:endParaRPr lang="ru-RU" sz="1092">
              <a:latin typeface="Circe" panose="020F0502020204030204" pitchFamily="34" charset="-52"/>
            </a:endParaRPr>
          </a:p>
        </p:txBody>
      </p:sp>
      <p:sp>
        <p:nvSpPr>
          <p:cNvPr id="5" name="bk object 17">
            <a:extLst>
              <a:ext uri="{FF2B5EF4-FFF2-40B4-BE49-F238E27FC236}">
                <a16:creationId xmlns:a16="http://schemas.microsoft.com/office/drawing/2014/main" id="{DE87DEB9-37A7-42D3-8009-16386B20DF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53903" y="6034462"/>
            <a:ext cx="65466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6" name="bk object 18">
            <a:extLst>
              <a:ext uri="{FF2B5EF4-FFF2-40B4-BE49-F238E27FC236}">
                <a16:creationId xmlns:a16="http://schemas.microsoft.com/office/drawing/2014/main" id="{9D38D0EA-0EE8-415B-868A-F92561FF8D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49337" y="6034462"/>
            <a:ext cx="64503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7" name="bk object 19">
            <a:extLst>
              <a:ext uri="{FF2B5EF4-FFF2-40B4-BE49-F238E27FC236}">
                <a16:creationId xmlns:a16="http://schemas.microsoft.com/office/drawing/2014/main" id="{8F55EF51-251F-4254-AB44-A9CC2DE9A0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43808" y="6034462"/>
            <a:ext cx="64503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8" name="bk object 20">
            <a:extLst>
              <a:ext uri="{FF2B5EF4-FFF2-40B4-BE49-F238E27FC236}">
                <a16:creationId xmlns:a16="http://schemas.microsoft.com/office/drawing/2014/main" id="{88B001F6-2BC8-4FC6-B72A-CF1BE97AB1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38279" y="6034462"/>
            <a:ext cx="65466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9" name="bk object 21">
            <a:extLst>
              <a:ext uri="{FF2B5EF4-FFF2-40B4-BE49-F238E27FC236}">
                <a16:creationId xmlns:a16="http://schemas.microsoft.com/office/drawing/2014/main" id="{9B565901-0697-4716-9D8D-A6C72402DD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33713" y="5969928"/>
            <a:ext cx="64503" cy="19456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10" name="bk object 22">
            <a:extLst>
              <a:ext uri="{FF2B5EF4-FFF2-40B4-BE49-F238E27FC236}">
                <a16:creationId xmlns:a16="http://schemas.microsoft.com/office/drawing/2014/main" id="{F6EE8750-91E2-4C25-B913-7289D85181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37549" y="5969928"/>
            <a:ext cx="64503" cy="19456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11" name="bk object 23">
            <a:extLst>
              <a:ext uri="{FF2B5EF4-FFF2-40B4-BE49-F238E27FC236}">
                <a16:creationId xmlns:a16="http://schemas.microsoft.com/office/drawing/2014/main" id="{9E8251EB-383D-4C99-951A-66118D9ED4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32020" y="6034462"/>
            <a:ext cx="65466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12" name="bk object 24">
            <a:extLst>
              <a:ext uri="{FF2B5EF4-FFF2-40B4-BE49-F238E27FC236}">
                <a16:creationId xmlns:a16="http://schemas.microsoft.com/office/drawing/2014/main" id="{8D6E22BF-D108-4096-82D8-FFED428A98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7454" y="6034462"/>
            <a:ext cx="64503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13" name="bk object 25">
            <a:extLst>
              <a:ext uri="{FF2B5EF4-FFF2-40B4-BE49-F238E27FC236}">
                <a16:creationId xmlns:a16="http://schemas.microsoft.com/office/drawing/2014/main" id="{9C7A9C1D-E0FF-494B-8300-AC365FC1DE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1926" y="6034462"/>
            <a:ext cx="64503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14" name="bk object 26">
            <a:extLst>
              <a:ext uri="{FF2B5EF4-FFF2-40B4-BE49-F238E27FC236}">
                <a16:creationId xmlns:a16="http://schemas.microsoft.com/office/drawing/2014/main" id="{7D8C06CA-9666-4CDC-BF61-7F82D2F55E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6397" y="6034462"/>
            <a:ext cx="65466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15" name="bk object 27">
            <a:extLst>
              <a:ext uri="{FF2B5EF4-FFF2-40B4-BE49-F238E27FC236}">
                <a16:creationId xmlns:a16="http://schemas.microsoft.com/office/drawing/2014/main" id="{1D3F54D4-AAE3-4F65-A591-F642D7F9D2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1831" y="5969928"/>
            <a:ext cx="64503" cy="19456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16" name="bk object 28">
            <a:extLst>
              <a:ext uri="{FF2B5EF4-FFF2-40B4-BE49-F238E27FC236}">
                <a16:creationId xmlns:a16="http://schemas.microsoft.com/office/drawing/2014/main" id="{4239D17C-C419-4F32-93D2-69C62D193F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3267" y="5969928"/>
            <a:ext cx="65466" cy="19456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17" name="bk object 29">
            <a:extLst>
              <a:ext uri="{FF2B5EF4-FFF2-40B4-BE49-F238E27FC236}">
                <a16:creationId xmlns:a16="http://schemas.microsoft.com/office/drawing/2014/main" id="{AC8B3FDF-FF79-4CDE-BD18-F87FB63D13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8701" y="6034462"/>
            <a:ext cx="64503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18" name="bk object 30">
            <a:extLst>
              <a:ext uri="{FF2B5EF4-FFF2-40B4-BE49-F238E27FC236}">
                <a16:creationId xmlns:a16="http://schemas.microsoft.com/office/drawing/2014/main" id="{C7E2AC2B-4223-4EAC-BE8D-3C59352922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73" y="6034462"/>
            <a:ext cx="64503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19" name="bk object 31">
            <a:extLst>
              <a:ext uri="{FF2B5EF4-FFF2-40B4-BE49-F238E27FC236}">
                <a16:creationId xmlns:a16="http://schemas.microsoft.com/office/drawing/2014/main" id="{DAADC026-A707-49D9-8188-FAA3D218E4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47644" y="6034462"/>
            <a:ext cx="65466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20" name="bk object 32">
            <a:extLst>
              <a:ext uri="{FF2B5EF4-FFF2-40B4-BE49-F238E27FC236}">
                <a16:creationId xmlns:a16="http://schemas.microsoft.com/office/drawing/2014/main" id="{7EDF72B7-8531-4802-AA86-9C0B2A9BE7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3078" y="6034462"/>
            <a:ext cx="64503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21" name="bk object 33">
            <a:extLst>
              <a:ext uri="{FF2B5EF4-FFF2-40B4-BE49-F238E27FC236}">
                <a16:creationId xmlns:a16="http://schemas.microsoft.com/office/drawing/2014/main" id="{B590D02E-6DFE-42BD-8C4D-7A20C9DB99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9948" y="5969928"/>
            <a:ext cx="64503" cy="19456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22" name="bk object 34">
            <a:extLst>
              <a:ext uri="{FF2B5EF4-FFF2-40B4-BE49-F238E27FC236}">
                <a16:creationId xmlns:a16="http://schemas.microsoft.com/office/drawing/2014/main" id="{2A603C05-49FE-483F-95F6-56A5F9286D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84420" y="6034462"/>
            <a:ext cx="64503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23" name="bk object 35">
            <a:extLst>
              <a:ext uri="{FF2B5EF4-FFF2-40B4-BE49-F238E27FC236}">
                <a16:creationId xmlns:a16="http://schemas.microsoft.com/office/drawing/2014/main" id="{C87ABF00-4C19-43B5-B092-72BB94383F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891" y="6034462"/>
            <a:ext cx="65466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24" name="bk object 36">
            <a:extLst>
              <a:ext uri="{FF2B5EF4-FFF2-40B4-BE49-F238E27FC236}">
                <a16:creationId xmlns:a16="http://schemas.microsoft.com/office/drawing/2014/main" id="{158B5951-9314-4F77-A61A-3833FF1C3F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74325" y="6034462"/>
            <a:ext cx="64503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25" name="bk object 37">
            <a:extLst>
              <a:ext uri="{FF2B5EF4-FFF2-40B4-BE49-F238E27FC236}">
                <a16:creationId xmlns:a16="http://schemas.microsoft.com/office/drawing/2014/main" id="{FA524808-1393-43AF-91A8-A86E879735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68796" y="6034462"/>
            <a:ext cx="64503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26" name="bk object 38">
            <a:extLst>
              <a:ext uri="{FF2B5EF4-FFF2-40B4-BE49-F238E27FC236}">
                <a16:creationId xmlns:a16="http://schemas.microsoft.com/office/drawing/2014/main" id="{0EF944FA-A898-4E06-8D5C-ED83079493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5667" y="5969928"/>
            <a:ext cx="64503" cy="19456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27" name="bk object 39">
            <a:extLst>
              <a:ext uri="{FF2B5EF4-FFF2-40B4-BE49-F238E27FC236}">
                <a16:creationId xmlns:a16="http://schemas.microsoft.com/office/drawing/2014/main" id="{C3E2DEF1-C32C-4E6A-B21B-19A241BEE0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0138" y="6034462"/>
            <a:ext cx="65466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28" name="bk object 40">
            <a:extLst>
              <a:ext uri="{FF2B5EF4-FFF2-40B4-BE49-F238E27FC236}">
                <a16:creationId xmlns:a16="http://schemas.microsoft.com/office/drawing/2014/main" id="{D9C3E142-2637-4057-BFFC-51C2C4FED9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5572" y="6034462"/>
            <a:ext cx="64503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29" name="bk object 41">
            <a:extLst>
              <a:ext uri="{FF2B5EF4-FFF2-40B4-BE49-F238E27FC236}">
                <a16:creationId xmlns:a16="http://schemas.microsoft.com/office/drawing/2014/main" id="{8E52AA4A-4F76-44AA-9D28-648F1C3E47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0043" y="6034462"/>
            <a:ext cx="64503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30" name="bk object 42">
            <a:extLst>
              <a:ext uri="{FF2B5EF4-FFF2-40B4-BE49-F238E27FC236}">
                <a16:creationId xmlns:a16="http://schemas.microsoft.com/office/drawing/2014/main" id="{568EB689-7458-4507-8632-2F5AE87575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94514" y="6034462"/>
            <a:ext cx="65466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31" name="bk object 43">
            <a:extLst>
              <a:ext uri="{FF2B5EF4-FFF2-40B4-BE49-F238E27FC236}">
                <a16:creationId xmlns:a16="http://schemas.microsoft.com/office/drawing/2014/main" id="{0CB5E87E-1AA2-4B47-93D2-06F1A8D196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1385" y="5969928"/>
            <a:ext cx="65466" cy="19456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32" name="bk object 44">
            <a:extLst>
              <a:ext uri="{FF2B5EF4-FFF2-40B4-BE49-F238E27FC236}">
                <a16:creationId xmlns:a16="http://schemas.microsoft.com/office/drawing/2014/main" id="{C6179B7B-BBF8-4FDE-B61D-0210EFE633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36819" y="6034462"/>
            <a:ext cx="64503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33" name="bk object 45">
            <a:extLst>
              <a:ext uri="{FF2B5EF4-FFF2-40B4-BE49-F238E27FC236}">
                <a16:creationId xmlns:a16="http://schemas.microsoft.com/office/drawing/2014/main" id="{47113879-DBFB-45D5-A271-07A6D67388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31290" y="6034462"/>
            <a:ext cx="64503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34" name="bk object 46">
            <a:extLst>
              <a:ext uri="{FF2B5EF4-FFF2-40B4-BE49-F238E27FC236}">
                <a16:creationId xmlns:a16="http://schemas.microsoft.com/office/drawing/2014/main" id="{58632223-D633-4037-A79D-6090E046AD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5761" y="6034462"/>
            <a:ext cx="65466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35" name="bk object 47">
            <a:extLst>
              <a:ext uri="{FF2B5EF4-FFF2-40B4-BE49-F238E27FC236}">
                <a16:creationId xmlns:a16="http://schemas.microsoft.com/office/drawing/2014/main" id="{F26B0B9F-8E77-4CF1-9A50-65880707E2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1195" y="6034462"/>
            <a:ext cx="64503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36" name="bk object 48">
            <a:extLst>
              <a:ext uri="{FF2B5EF4-FFF2-40B4-BE49-F238E27FC236}">
                <a16:creationId xmlns:a16="http://schemas.microsoft.com/office/drawing/2014/main" id="{99EAAA22-9DD6-440F-B34E-FC5D3D1D46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68066" y="5969928"/>
            <a:ext cx="64503" cy="19456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37" name="bk object 49">
            <a:extLst>
              <a:ext uri="{FF2B5EF4-FFF2-40B4-BE49-F238E27FC236}">
                <a16:creationId xmlns:a16="http://schemas.microsoft.com/office/drawing/2014/main" id="{5DDEC6D1-41C1-4663-AC1B-007D91E083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2537" y="6034462"/>
            <a:ext cx="64503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38" name="bk object 50">
            <a:extLst>
              <a:ext uri="{FF2B5EF4-FFF2-40B4-BE49-F238E27FC236}">
                <a16:creationId xmlns:a16="http://schemas.microsoft.com/office/drawing/2014/main" id="{9ADEBACF-A492-4D6D-A266-CB77D49D26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57008" y="6034462"/>
            <a:ext cx="65466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39" name="bk object 51">
            <a:extLst>
              <a:ext uri="{FF2B5EF4-FFF2-40B4-BE49-F238E27FC236}">
                <a16:creationId xmlns:a16="http://schemas.microsoft.com/office/drawing/2014/main" id="{AE58D5C1-5D6E-4785-9064-1612109580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52442" y="6034462"/>
            <a:ext cx="64503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40" name="bk object 52">
            <a:extLst>
              <a:ext uri="{FF2B5EF4-FFF2-40B4-BE49-F238E27FC236}">
                <a16:creationId xmlns:a16="http://schemas.microsoft.com/office/drawing/2014/main" id="{C2A9DD86-E153-41FB-9E26-52368CC573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46914" y="6034462"/>
            <a:ext cx="64503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41" name="bk object 53">
            <a:extLst>
              <a:ext uri="{FF2B5EF4-FFF2-40B4-BE49-F238E27FC236}">
                <a16:creationId xmlns:a16="http://schemas.microsoft.com/office/drawing/2014/main" id="{13C1DC47-71E2-414E-BFE2-C60DCDF56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3784" y="5969928"/>
            <a:ext cx="64503" cy="19456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42" name="bk object 54">
            <a:extLst>
              <a:ext uri="{FF2B5EF4-FFF2-40B4-BE49-F238E27FC236}">
                <a16:creationId xmlns:a16="http://schemas.microsoft.com/office/drawing/2014/main" id="{8CFE398B-07D4-49D7-9030-F96EC8543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8255" y="6034462"/>
            <a:ext cx="65466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43" name="bk object 55">
            <a:extLst>
              <a:ext uri="{FF2B5EF4-FFF2-40B4-BE49-F238E27FC236}">
                <a16:creationId xmlns:a16="http://schemas.microsoft.com/office/drawing/2014/main" id="{A39D1118-8E0C-4F2A-BEFC-C51DCF5F9C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83689" y="6034462"/>
            <a:ext cx="64503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44" name="bk object 56">
            <a:extLst>
              <a:ext uri="{FF2B5EF4-FFF2-40B4-BE49-F238E27FC236}">
                <a16:creationId xmlns:a16="http://schemas.microsoft.com/office/drawing/2014/main" id="{85B911A1-1B17-45AE-A140-DB1F3524B2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78161" y="6034462"/>
            <a:ext cx="64503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45" name="bk object 57">
            <a:extLst>
              <a:ext uri="{FF2B5EF4-FFF2-40B4-BE49-F238E27FC236}">
                <a16:creationId xmlns:a16="http://schemas.microsoft.com/office/drawing/2014/main" id="{EBE161CF-95BA-4AF1-9F66-A5AD6FFADC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2632" y="6034462"/>
            <a:ext cx="65466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46" name="bk object 58">
            <a:extLst>
              <a:ext uri="{FF2B5EF4-FFF2-40B4-BE49-F238E27FC236}">
                <a16:creationId xmlns:a16="http://schemas.microsoft.com/office/drawing/2014/main" id="{B2642274-6CF2-47E1-BC95-42C20E848B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06302" y="6034462"/>
            <a:ext cx="64503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47" name="bk object 59">
            <a:extLst>
              <a:ext uri="{FF2B5EF4-FFF2-40B4-BE49-F238E27FC236}">
                <a16:creationId xmlns:a16="http://schemas.microsoft.com/office/drawing/2014/main" id="{F64FDE53-C94B-47B4-B395-1F8C7AC4E0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0773" y="6034462"/>
            <a:ext cx="65466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48" name="bk object 60">
            <a:extLst>
              <a:ext uri="{FF2B5EF4-FFF2-40B4-BE49-F238E27FC236}">
                <a16:creationId xmlns:a16="http://schemas.microsoft.com/office/drawing/2014/main" id="{CFB165ED-97CA-4E77-84E4-0426C80D22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6207" y="6034462"/>
            <a:ext cx="64503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49" name="bk object 61">
            <a:extLst>
              <a:ext uri="{FF2B5EF4-FFF2-40B4-BE49-F238E27FC236}">
                <a16:creationId xmlns:a16="http://schemas.microsoft.com/office/drawing/2014/main" id="{5733B5D6-80C7-4AB3-85FC-DF686414EA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90679" y="6034462"/>
            <a:ext cx="64503" cy="1300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50" name="Rectangle 139">
            <a:extLst>
              <a:ext uri="{FF2B5EF4-FFF2-40B4-BE49-F238E27FC236}">
                <a16:creationId xmlns:a16="http://schemas.microsoft.com/office/drawing/2014/main" id="{9225D02E-CF75-4B12-AC31-DBC80A1ED1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71672" y="5708901"/>
            <a:ext cx="67391" cy="455594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51" name="Rectangle 140">
            <a:extLst>
              <a:ext uri="{FF2B5EF4-FFF2-40B4-BE49-F238E27FC236}">
                <a16:creationId xmlns:a16="http://schemas.microsoft.com/office/drawing/2014/main" id="{D47E40BD-97A0-4B2D-AFF6-1721819549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68068" y="6035426"/>
            <a:ext cx="64503" cy="12906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52" name="Rectangle 141">
            <a:extLst>
              <a:ext uri="{FF2B5EF4-FFF2-40B4-BE49-F238E27FC236}">
                <a16:creationId xmlns:a16="http://schemas.microsoft.com/office/drawing/2014/main" id="{973B802D-1B09-44B9-9B0E-DA65BBBD54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61577" y="6035426"/>
            <a:ext cx="66429" cy="12906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53" name="Rectangle 142">
            <a:extLst>
              <a:ext uri="{FF2B5EF4-FFF2-40B4-BE49-F238E27FC236}">
                <a16:creationId xmlns:a16="http://schemas.microsoft.com/office/drawing/2014/main" id="{02F39ED8-3EDB-4A3F-ADF9-FEB98FFF33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57011" y="6035426"/>
            <a:ext cx="64503" cy="12906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54" name="Rectangle 143">
            <a:extLst>
              <a:ext uri="{FF2B5EF4-FFF2-40B4-BE49-F238E27FC236}">
                <a16:creationId xmlns:a16="http://schemas.microsoft.com/office/drawing/2014/main" id="{990BE053-B514-4041-B0D3-B61190AAF8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53408" y="6035426"/>
            <a:ext cx="64503" cy="12906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55" name="Freeform 144">
            <a:extLst>
              <a:ext uri="{FF2B5EF4-FFF2-40B4-BE49-F238E27FC236}">
                <a16:creationId xmlns:a16="http://schemas.microsoft.com/office/drawing/2014/main" id="{465882B9-C4AE-4159-BA07-47F38C9A6310}"/>
              </a:ext>
            </a:extLst>
          </p:cNvPr>
          <p:cNvSpPr>
            <a:spLocks/>
          </p:cNvSpPr>
          <p:nvPr/>
        </p:nvSpPr>
        <p:spPr bwMode="auto">
          <a:xfrm>
            <a:off x="9686017" y="5708900"/>
            <a:ext cx="196397" cy="261991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0"/>
                </a:lnTo>
                <a:lnTo>
                  <a:pt x="0" y="5335"/>
                </a:lnTo>
                <a:lnTo>
                  <a:pt x="7353" y="5335"/>
                </a:lnTo>
                <a:lnTo>
                  <a:pt x="7353" y="21600"/>
                </a:lnTo>
                <a:lnTo>
                  <a:pt x="14477" y="21600"/>
                </a:lnTo>
                <a:lnTo>
                  <a:pt x="14477" y="5335"/>
                </a:lnTo>
                <a:lnTo>
                  <a:pt x="21600" y="5335"/>
                </a:lnTo>
                <a:lnTo>
                  <a:pt x="2160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/>
          <a:p>
            <a:endParaRPr lang="ru-RU" sz="1092">
              <a:latin typeface="Circe" panose="020F0502020204030204" pitchFamily="34" charset="-52"/>
            </a:endParaRPr>
          </a:p>
        </p:txBody>
      </p:sp>
      <p:sp>
        <p:nvSpPr>
          <p:cNvPr id="56" name="Rectangle 145">
            <a:extLst>
              <a:ext uri="{FF2B5EF4-FFF2-40B4-BE49-F238E27FC236}">
                <a16:creationId xmlns:a16="http://schemas.microsoft.com/office/drawing/2014/main" id="{D9E29E23-0739-4C03-BF8D-5F1969A759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46916" y="5708901"/>
            <a:ext cx="64503" cy="455594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>
              <a:defRPr/>
            </a:pPr>
            <a:endParaRPr lang="ru-RU" altLang="ru-RU" sz="1092">
              <a:latin typeface="Circe" panose="020F0502020204030204" pitchFamily="34" charset="-52"/>
            </a:endParaRPr>
          </a:p>
        </p:txBody>
      </p:sp>
      <p:sp>
        <p:nvSpPr>
          <p:cNvPr id="57" name="Freeform 146">
            <a:extLst>
              <a:ext uri="{FF2B5EF4-FFF2-40B4-BE49-F238E27FC236}">
                <a16:creationId xmlns:a16="http://schemas.microsoft.com/office/drawing/2014/main" id="{B840B84A-AE63-4308-84BF-62789F6A6A68}"/>
              </a:ext>
            </a:extLst>
          </p:cNvPr>
          <p:cNvSpPr>
            <a:spLocks/>
          </p:cNvSpPr>
          <p:nvPr/>
        </p:nvSpPr>
        <p:spPr bwMode="auto">
          <a:xfrm>
            <a:off x="9168069" y="5708900"/>
            <a:ext cx="193508" cy="261991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 extrusionOk="0">
                <a:moveTo>
                  <a:pt x="10916" y="10671"/>
                </a:moveTo>
                <a:lnTo>
                  <a:pt x="7200" y="10671"/>
                </a:lnTo>
                <a:lnTo>
                  <a:pt x="7200" y="5335"/>
                </a:lnTo>
                <a:lnTo>
                  <a:pt x="11613" y="5335"/>
                </a:lnTo>
                <a:lnTo>
                  <a:pt x="12310" y="5508"/>
                </a:lnTo>
                <a:lnTo>
                  <a:pt x="13471" y="6196"/>
                </a:lnTo>
                <a:lnTo>
                  <a:pt x="14168" y="7057"/>
                </a:lnTo>
                <a:lnTo>
                  <a:pt x="14400" y="7401"/>
                </a:lnTo>
                <a:lnTo>
                  <a:pt x="14400" y="8606"/>
                </a:lnTo>
                <a:lnTo>
                  <a:pt x="14168" y="9122"/>
                </a:lnTo>
                <a:lnTo>
                  <a:pt x="13471" y="9982"/>
                </a:lnTo>
                <a:lnTo>
                  <a:pt x="12310" y="10499"/>
                </a:lnTo>
                <a:lnTo>
                  <a:pt x="11613" y="10671"/>
                </a:lnTo>
                <a:lnTo>
                  <a:pt x="10916" y="10671"/>
                </a:lnTo>
                <a:close/>
                <a:moveTo>
                  <a:pt x="10916" y="0"/>
                </a:moveTo>
                <a:lnTo>
                  <a:pt x="0" y="0"/>
                </a:lnTo>
                <a:lnTo>
                  <a:pt x="0" y="21600"/>
                </a:lnTo>
                <a:lnTo>
                  <a:pt x="7200" y="21600"/>
                </a:lnTo>
                <a:lnTo>
                  <a:pt x="7200" y="16006"/>
                </a:lnTo>
                <a:lnTo>
                  <a:pt x="10916" y="16006"/>
                </a:lnTo>
                <a:lnTo>
                  <a:pt x="13006" y="15834"/>
                </a:lnTo>
                <a:lnTo>
                  <a:pt x="15097" y="15490"/>
                </a:lnTo>
                <a:lnTo>
                  <a:pt x="16955" y="14629"/>
                </a:lnTo>
                <a:lnTo>
                  <a:pt x="18581" y="13769"/>
                </a:lnTo>
                <a:lnTo>
                  <a:pt x="19974" y="12564"/>
                </a:lnTo>
                <a:lnTo>
                  <a:pt x="20903" y="11187"/>
                </a:lnTo>
                <a:lnTo>
                  <a:pt x="21600" y="9638"/>
                </a:lnTo>
                <a:lnTo>
                  <a:pt x="21600" y="6368"/>
                </a:lnTo>
                <a:lnTo>
                  <a:pt x="20903" y="4819"/>
                </a:lnTo>
                <a:lnTo>
                  <a:pt x="19974" y="3614"/>
                </a:lnTo>
                <a:lnTo>
                  <a:pt x="18581" y="2410"/>
                </a:lnTo>
                <a:lnTo>
                  <a:pt x="16955" y="1377"/>
                </a:lnTo>
                <a:lnTo>
                  <a:pt x="15097" y="688"/>
                </a:lnTo>
                <a:lnTo>
                  <a:pt x="13006" y="172"/>
                </a:lnTo>
                <a:lnTo>
                  <a:pt x="1091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/>
          <a:p>
            <a:endParaRPr lang="ru-RU" sz="1092">
              <a:latin typeface="Circe" panose="020F0502020204030204" pitchFamily="34" charset="-52"/>
            </a:endParaRPr>
          </a:p>
        </p:txBody>
      </p:sp>
      <p:sp>
        <p:nvSpPr>
          <p:cNvPr id="58" name="Freeform 149">
            <a:extLst>
              <a:ext uri="{FF2B5EF4-FFF2-40B4-BE49-F238E27FC236}">
                <a16:creationId xmlns:a16="http://schemas.microsoft.com/office/drawing/2014/main" id="{A6C5B930-709E-4D5F-8EE1-E5BB55C3187B}"/>
              </a:ext>
            </a:extLst>
          </p:cNvPr>
          <p:cNvSpPr>
            <a:spLocks/>
          </p:cNvSpPr>
          <p:nvPr/>
        </p:nvSpPr>
        <p:spPr bwMode="auto">
          <a:xfrm>
            <a:off x="9409713" y="5706974"/>
            <a:ext cx="222391" cy="263917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 extrusionOk="0">
                <a:moveTo>
                  <a:pt x="12516" y="21600"/>
                </a:moveTo>
                <a:lnTo>
                  <a:pt x="10093" y="21429"/>
                </a:lnTo>
                <a:lnTo>
                  <a:pt x="7873" y="20746"/>
                </a:lnTo>
                <a:lnTo>
                  <a:pt x="6662" y="20405"/>
                </a:lnTo>
                <a:lnTo>
                  <a:pt x="5652" y="19892"/>
                </a:lnTo>
                <a:lnTo>
                  <a:pt x="4643" y="19124"/>
                </a:lnTo>
                <a:lnTo>
                  <a:pt x="2826" y="17587"/>
                </a:lnTo>
                <a:lnTo>
                  <a:pt x="2019" y="16734"/>
                </a:lnTo>
                <a:lnTo>
                  <a:pt x="1413" y="15880"/>
                </a:lnTo>
                <a:lnTo>
                  <a:pt x="807" y="14855"/>
                </a:lnTo>
                <a:lnTo>
                  <a:pt x="404" y="13831"/>
                </a:lnTo>
                <a:lnTo>
                  <a:pt x="0" y="11782"/>
                </a:lnTo>
                <a:lnTo>
                  <a:pt x="0" y="9733"/>
                </a:lnTo>
                <a:lnTo>
                  <a:pt x="404" y="7684"/>
                </a:lnTo>
                <a:lnTo>
                  <a:pt x="807" y="6659"/>
                </a:lnTo>
                <a:lnTo>
                  <a:pt x="1413" y="5635"/>
                </a:lnTo>
                <a:lnTo>
                  <a:pt x="2019" y="4781"/>
                </a:lnTo>
                <a:lnTo>
                  <a:pt x="2826" y="3927"/>
                </a:lnTo>
                <a:lnTo>
                  <a:pt x="4643" y="2391"/>
                </a:lnTo>
                <a:lnTo>
                  <a:pt x="5652" y="1878"/>
                </a:lnTo>
                <a:lnTo>
                  <a:pt x="6662" y="1195"/>
                </a:lnTo>
                <a:lnTo>
                  <a:pt x="7873" y="854"/>
                </a:lnTo>
                <a:lnTo>
                  <a:pt x="10093" y="171"/>
                </a:lnTo>
                <a:lnTo>
                  <a:pt x="12516" y="0"/>
                </a:lnTo>
                <a:lnTo>
                  <a:pt x="14938" y="171"/>
                </a:lnTo>
                <a:lnTo>
                  <a:pt x="18572" y="1195"/>
                </a:lnTo>
                <a:lnTo>
                  <a:pt x="19581" y="1878"/>
                </a:lnTo>
                <a:lnTo>
                  <a:pt x="20591" y="2391"/>
                </a:lnTo>
                <a:lnTo>
                  <a:pt x="21600" y="3244"/>
                </a:lnTo>
                <a:lnTo>
                  <a:pt x="17159" y="7001"/>
                </a:lnTo>
                <a:lnTo>
                  <a:pt x="16150" y="6318"/>
                </a:lnTo>
                <a:lnTo>
                  <a:pt x="14938" y="5806"/>
                </a:lnTo>
                <a:lnTo>
                  <a:pt x="13727" y="5464"/>
                </a:lnTo>
                <a:lnTo>
                  <a:pt x="12516" y="5293"/>
                </a:lnTo>
                <a:lnTo>
                  <a:pt x="11305" y="5464"/>
                </a:lnTo>
                <a:lnTo>
                  <a:pt x="10093" y="5806"/>
                </a:lnTo>
                <a:lnTo>
                  <a:pt x="9084" y="6318"/>
                </a:lnTo>
                <a:lnTo>
                  <a:pt x="8075" y="7001"/>
                </a:lnTo>
                <a:lnTo>
                  <a:pt x="7267" y="7855"/>
                </a:lnTo>
                <a:lnTo>
                  <a:pt x="6662" y="8708"/>
                </a:lnTo>
                <a:lnTo>
                  <a:pt x="6258" y="9733"/>
                </a:lnTo>
                <a:lnTo>
                  <a:pt x="6258" y="11782"/>
                </a:lnTo>
                <a:lnTo>
                  <a:pt x="6662" y="12806"/>
                </a:lnTo>
                <a:lnTo>
                  <a:pt x="7267" y="13831"/>
                </a:lnTo>
                <a:lnTo>
                  <a:pt x="8075" y="14514"/>
                </a:lnTo>
                <a:lnTo>
                  <a:pt x="9084" y="15197"/>
                </a:lnTo>
                <a:lnTo>
                  <a:pt x="10093" y="15709"/>
                </a:lnTo>
                <a:lnTo>
                  <a:pt x="11305" y="16051"/>
                </a:lnTo>
                <a:lnTo>
                  <a:pt x="12516" y="16221"/>
                </a:lnTo>
                <a:lnTo>
                  <a:pt x="13727" y="16051"/>
                </a:lnTo>
                <a:lnTo>
                  <a:pt x="14938" y="15709"/>
                </a:lnTo>
                <a:lnTo>
                  <a:pt x="16150" y="15197"/>
                </a:lnTo>
                <a:lnTo>
                  <a:pt x="17159" y="14514"/>
                </a:lnTo>
                <a:lnTo>
                  <a:pt x="21600" y="18270"/>
                </a:lnTo>
                <a:lnTo>
                  <a:pt x="20591" y="19124"/>
                </a:lnTo>
                <a:lnTo>
                  <a:pt x="19581" y="19892"/>
                </a:lnTo>
                <a:lnTo>
                  <a:pt x="18572" y="20405"/>
                </a:lnTo>
                <a:lnTo>
                  <a:pt x="14938" y="21429"/>
                </a:lnTo>
                <a:lnTo>
                  <a:pt x="12516" y="216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7726" rIns="27726"/>
          <a:lstStyle/>
          <a:p>
            <a:endParaRPr lang="ru-RU" sz="1092">
              <a:latin typeface="Circe" panose="020F0502020204030204" pitchFamily="34" charset="-52"/>
            </a:endParaRPr>
          </a:p>
        </p:txBody>
      </p:sp>
      <p:pic>
        <p:nvPicPr>
          <p:cNvPr id="60" name="fon.jpg" descr="fon.jpg">
            <a:extLst>
              <a:ext uri="{FF2B5EF4-FFF2-40B4-BE49-F238E27FC236}">
                <a16:creationId xmlns:a16="http://schemas.microsoft.com/office/drawing/2014/main" id="{BF63D564-D29F-4688-9AFF-41A579B7E2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94" y="5979385"/>
            <a:ext cx="12191998" cy="905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255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5649245" y="2498157"/>
            <a:ext cx="4456776" cy="73762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>
                <a:solidFill>
                  <a:srgbClr val="004E6B"/>
                </a:solidFill>
                <a:latin typeface="Circe" panose="020F0502020204030204" pitchFamily="34" charset="-52"/>
              </a:defRPr>
            </a:lvl1pPr>
          </a:lstStyle>
          <a:p>
            <a:r>
              <a:rPr lang="ru-RU" dirty="0"/>
              <a:t>Текст заголовка</a:t>
            </a:r>
            <a:endParaRPr dirty="0"/>
          </a:p>
        </p:txBody>
      </p:sp>
      <p:grpSp>
        <p:nvGrpSpPr>
          <p:cNvPr id="224" name="Группа 223">
            <a:extLst>
              <a:ext uri="{FF2B5EF4-FFF2-40B4-BE49-F238E27FC236}">
                <a16:creationId xmlns:a16="http://schemas.microsoft.com/office/drawing/2014/main" id="{FFA4B8B0-5836-483A-9B70-44E6FD64E1FF}"/>
              </a:ext>
            </a:extLst>
          </p:cNvPr>
          <p:cNvGrpSpPr/>
          <p:nvPr userDrawn="1"/>
        </p:nvGrpSpPr>
        <p:grpSpPr>
          <a:xfrm>
            <a:off x="815432" y="2215365"/>
            <a:ext cx="4452987" cy="1303213"/>
            <a:chOff x="815432" y="2215365"/>
            <a:chExt cx="4549809" cy="1303213"/>
          </a:xfrm>
        </p:grpSpPr>
        <p:pic>
          <p:nvPicPr>
            <p:cNvPr id="59" name="logo VNIIM_final-06.png" descr="logo VNIIM_final-06.png">
              <a:extLst>
                <a:ext uri="{FF2B5EF4-FFF2-40B4-BE49-F238E27FC236}">
                  <a16:creationId xmlns:a16="http://schemas.microsoft.com/office/drawing/2014/main" id="{F329F2CD-D559-4F09-BBF0-5CC655575F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2847"/>
            <a:stretch/>
          </p:blipFill>
          <p:spPr bwMode="auto">
            <a:xfrm>
              <a:off x="815432" y="2215365"/>
              <a:ext cx="2001513" cy="13032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1FD0758B-688A-4225-A797-DAD048D9449A}"/>
                </a:ext>
              </a:extLst>
            </p:cNvPr>
            <p:cNvSpPr txBox="1"/>
            <p:nvPr userDrawn="1"/>
          </p:nvSpPr>
          <p:spPr>
            <a:xfrm>
              <a:off x="2855640" y="2459504"/>
              <a:ext cx="2509601" cy="8848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0"/>
                </a:spcAft>
              </a:pPr>
              <a:r>
                <a:rPr lang="ru-RU" sz="1600" b="1" kern="1200" spc="300" dirty="0">
                  <a:solidFill>
                    <a:srgbClr val="004E6B"/>
                  </a:solidFill>
                  <a:effectLst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ВНИИМ</a:t>
              </a:r>
            </a:p>
            <a:p>
              <a:pPr>
                <a:spcAft>
                  <a:spcPts val="0"/>
                </a:spcAft>
              </a:pPr>
              <a:endParaRPr lang="ru-RU" sz="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>
                <a:spcAft>
                  <a:spcPts val="0"/>
                </a:spcAft>
              </a:pPr>
              <a:r>
                <a:rPr lang="ru-RU" sz="1050" kern="1200" dirty="0">
                  <a:solidFill>
                    <a:srgbClr val="004E6B"/>
                  </a:solidFill>
                  <a:effectLst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ФГУП «Всероссийский научно-</a:t>
              </a:r>
            </a:p>
            <a:p>
              <a:pPr>
                <a:spcAft>
                  <a:spcPts val="0"/>
                </a:spcAft>
              </a:pPr>
              <a:r>
                <a:rPr lang="ru-RU" sz="1050" b="0" kern="1200" dirty="0">
                  <a:solidFill>
                    <a:srgbClr val="004E6B"/>
                  </a:solidFill>
                  <a:effectLst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исследовательский институт</a:t>
              </a:r>
            </a:p>
            <a:p>
              <a:pPr>
                <a:spcAft>
                  <a:spcPts val="0"/>
                </a:spcAft>
              </a:pPr>
              <a:r>
                <a:rPr lang="ru-RU" sz="1050" b="0" kern="1200" dirty="0">
                  <a:solidFill>
                    <a:srgbClr val="004E6B"/>
                  </a:solidFill>
                  <a:effectLst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Метрологии им.Д.И.Менделеева</a:t>
              </a:r>
              <a:endParaRPr lang="ru-RU" sz="1050" b="0" dirty="0">
                <a:solidFill>
                  <a:srgbClr val="004E6B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1" name="Текст заголовка">
            <a:extLst>
              <a:ext uri="{FF2B5EF4-FFF2-40B4-BE49-F238E27FC236}">
                <a16:creationId xmlns:a16="http://schemas.microsoft.com/office/drawing/2014/main" id="{3AB44314-747D-4F5E-98B7-A14C64F7FD5D}"/>
              </a:ext>
            </a:extLst>
          </p:cNvPr>
          <p:cNvSpPr txBox="1">
            <a:spLocks/>
          </p:cNvSpPr>
          <p:nvPr userDrawn="1"/>
        </p:nvSpPr>
        <p:spPr>
          <a:xfrm>
            <a:off x="5653474" y="4881173"/>
            <a:ext cx="6275173" cy="73762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rgbClr val="004E6B"/>
                </a:solidFill>
                <a:latin typeface="Circe" panose="020F0502020204030204" pitchFamily="34" charset="-52"/>
                <a:ea typeface="+mj-ea"/>
                <a:cs typeface="+mj-cs"/>
              </a:defRPr>
            </a:lvl1pPr>
          </a:lstStyle>
          <a:p>
            <a:endParaRPr lang="ru-RU" sz="2400" dirty="0">
              <a:latin typeface="Circe" panose="020F0502020204030204" pitchFamily="34" charset="-52"/>
            </a:endParaRPr>
          </a:p>
        </p:txBody>
      </p:sp>
      <p:sp>
        <p:nvSpPr>
          <p:cNvPr id="73" name="Номер слайда 5">
            <a:extLst>
              <a:ext uri="{FF2B5EF4-FFF2-40B4-BE49-F238E27FC236}">
                <a16:creationId xmlns:a16="http://schemas.microsoft.com/office/drawing/2014/main" id="{58618621-12FA-4A3F-8136-A2DB3367CA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96348" y="6508126"/>
            <a:ext cx="480540" cy="365125"/>
          </a:xfrm>
        </p:spPr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fld id="{A5CAF621-0CE2-413F-85B6-C92A5D41675D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68" name="bk object 73">
            <a:extLst>
              <a:ext uri="{FF2B5EF4-FFF2-40B4-BE49-F238E27FC236}">
                <a16:creationId xmlns:a16="http://schemas.microsoft.com/office/drawing/2014/main" id="{1243BF98-9DBB-82FB-016F-6EE19980E870}"/>
              </a:ext>
            </a:extLst>
          </p:cNvPr>
          <p:cNvSpPr/>
          <p:nvPr/>
        </p:nvSpPr>
        <p:spPr>
          <a:xfrm>
            <a:off x="5375920" y="2558843"/>
            <a:ext cx="76202" cy="616253"/>
          </a:xfrm>
          <a:prstGeom prst="rect">
            <a:avLst/>
          </a:prstGeom>
          <a:solidFill>
            <a:srgbClr val="004E6B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t">
            <a:noAutofit/>
          </a:bodyPr>
          <a:lstStyle/>
          <a:p>
            <a:endParaRPr sz="1092"/>
          </a:p>
        </p:txBody>
      </p:sp>
      <p:grpSp>
        <p:nvGrpSpPr>
          <p:cNvPr id="127" name="Группа 367">
            <a:extLst>
              <a:ext uri="{FF2B5EF4-FFF2-40B4-BE49-F238E27FC236}">
                <a16:creationId xmlns:a16="http://schemas.microsoft.com/office/drawing/2014/main" id="{4B6D6191-5867-4918-441D-968C81C380A0}"/>
              </a:ext>
            </a:extLst>
          </p:cNvPr>
          <p:cNvGrpSpPr/>
          <p:nvPr userDrawn="1"/>
        </p:nvGrpSpPr>
        <p:grpSpPr>
          <a:xfrm>
            <a:off x="1127448" y="6428035"/>
            <a:ext cx="9804399" cy="457349"/>
            <a:chOff x="0" y="0"/>
            <a:chExt cx="16167043" cy="753777"/>
          </a:xfrm>
        </p:grpSpPr>
        <p:sp>
          <p:nvSpPr>
            <p:cNvPr id="128" name="bk object 17">
              <a:extLst>
                <a:ext uri="{FF2B5EF4-FFF2-40B4-BE49-F238E27FC236}">
                  <a16:creationId xmlns:a16="http://schemas.microsoft.com/office/drawing/2014/main" id="{FC6E5229-7888-8EBD-7AB8-82D1AC32C91D}"/>
                </a:ext>
              </a:extLst>
            </p:cNvPr>
            <p:cNvSpPr/>
            <p:nvPr/>
          </p:nvSpPr>
          <p:spPr>
            <a:xfrm>
              <a:off x="14775181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29" name="bk object 18">
              <a:extLst>
                <a:ext uri="{FF2B5EF4-FFF2-40B4-BE49-F238E27FC236}">
                  <a16:creationId xmlns:a16="http://schemas.microsoft.com/office/drawing/2014/main" id="{9BB53ECE-64AE-E4E3-5D5B-92DF155CDBB8}"/>
                </a:ext>
              </a:extLst>
            </p:cNvPr>
            <p:cNvSpPr/>
            <p:nvPr/>
          </p:nvSpPr>
          <p:spPr>
            <a:xfrm>
              <a:off x="15096387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30" name="bk object 19">
              <a:extLst>
                <a:ext uri="{FF2B5EF4-FFF2-40B4-BE49-F238E27FC236}">
                  <a16:creationId xmlns:a16="http://schemas.microsoft.com/office/drawing/2014/main" id="{A5FBBC87-2C0F-0EA1-58BC-CED5C0B05963}"/>
                </a:ext>
              </a:extLst>
            </p:cNvPr>
            <p:cNvSpPr/>
            <p:nvPr/>
          </p:nvSpPr>
          <p:spPr>
            <a:xfrm>
              <a:off x="15417570" y="539533"/>
              <a:ext cx="10707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31" name="bk object 20">
              <a:extLst>
                <a:ext uri="{FF2B5EF4-FFF2-40B4-BE49-F238E27FC236}">
                  <a16:creationId xmlns:a16="http://schemas.microsoft.com/office/drawing/2014/main" id="{9C168806-3461-8D08-5384-D95E4E98EB17}"/>
                </a:ext>
              </a:extLst>
            </p:cNvPr>
            <p:cNvSpPr/>
            <p:nvPr/>
          </p:nvSpPr>
          <p:spPr>
            <a:xfrm>
              <a:off x="15738786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32" name="bk object 21">
              <a:extLst>
                <a:ext uri="{FF2B5EF4-FFF2-40B4-BE49-F238E27FC236}">
                  <a16:creationId xmlns:a16="http://schemas.microsoft.com/office/drawing/2014/main" id="{A8A9BDE2-8219-F0D9-02A5-EBA057FF6607}"/>
                </a:ext>
              </a:extLst>
            </p:cNvPr>
            <p:cNvSpPr/>
            <p:nvPr/>
          </p:nvSpPr>
          <p:spPr>
            <a:xfrm>
              <a:off x="16059980" y="432467"/>
              <a:ext cx="107064" cy="321280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33" name="bk object 22">
              <a:extLst>
                <a:ext uri="{FF2B5EF4-FFF2-40B4-BE49-F238E27FC236}">
                  <a16:creationId xmlns:a16="http://schemas.microsoft.com/office/drawing/2014/main" id="{8C3EA3D0-2889-D3A7-76CB-929BABE2B406}"/>
                </a:ext>
              </a:extLst>
            </p:cNvPr>
            <p:cNvSpPr/>
            <p:nvPr/>
          </p:nvSpPr>
          <p:spPr>
            <a:xfrm>
              <a:off x="9635978" y="432467"/>
              <a:ext cx="107064" cy="321280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34" name="bk object 23">
              <a:extLst>
                <a:ext uri="{FF2B5EF4-FFF2-40B4-BE49-F238E27FC236}">
                  <a16:creationId xmlns:a16="http://schemas.microsoft.com/office/drawing/2014/main" id="{AA374078-137D-019C-9880-F408CD5CDA70}"/>
                </a:ext>
              </a:extLst>
            </p:cNvPr>
            <p:cNvSpPr/>
            <p:nvPr/>
          </p:nvSpPr>
          <p:spPr>
            <a:xfrm>
              <a:off x="9957182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35" name="bk object 24">
              <a:extLst>
                <a:ext uri="{FF2B5EF4-FFF2-40B4-BE49-F238E27FC236}">
                  <a16:creationId xmlns:a16="http://schemas.microsoft.com/office/drawing/2014/main" id="{A6878A4D-435F-BF9A-C1A7-5CCEF3A227F4}"/>
                </a:ext>
              </a:extLst>
            </p:cNvPr>
            <p:cNvSpPr/>
            <p:nvPr/>
          </p:nvSpPr>
          <p:spPr>
            <a:xfrm>
              <a:off x="10278377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36" name="bk object 25">
              <a:extLst>
                <a:ext uri="{FF2B5EF4-FFF2-40B4-BE49-F238E27FC236}">
                  <a16:creationId xmlns:a16="http://schemas.microsoft.com/office/drawing/2014/main" id="{F41309A2-702A-055A-C157-CABF77A98167}"/>
                </a:ext>
              </a:extLst>
            </p:cNvPr>
            <p:cNvSpPr/>
            <p:nvPr/>
          </p:nvSpPr>
          <p:spPr>
            <a:xfrm>
              <a:off x="10599570" y="539533"/>
              <a:ext cx="10707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37" name="bk object 26">
              <a:extLst>
                <a:ext uri="{FF2B5EF4-FFF2-40B4-BE49-F238E27FC236}">
                  <a16:creationId xmlns:a16="http://schemas.microsoft.com/office/drawing/2014/main" id="{CDCE0343-976F-6AC2-64FA-4A31832B4976}"/>
                </a:ext>
              </a:extLst>
            </p:cNvPr>
            <p:cNvSpPr/>
            <p:nvPr/>
          </p:nvSpPr>
          <p:spPr>
            <a:xfrm>
              <a:off x="10920765" y="539533"/>
              <a:ext cx="10707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38" name="bk object 27">
              <a:extLst>
                <a:ext uri="{FF2B5EF4-FFF2-40B4-BE49-F238E27FC236}">
                  <a16:creationId xmlns:a16="http://schemas.microsoft.com/office/drawing/2014/main" id="{87E31DAF-FA2F-C739-80BF-EBE25FF054BA}"/>
                </a:ext>
              </a:extLst>
            </p:cNvPr>
            <p:cNvSpPr/>
            <p:nvPr/>
          </p:nvSpPr>
          <p:spPr>
            <a:xfrm>
              <a:off x="11241981" y="432467"/>
              <a:ext cx="107064" cy="321280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 dirty="0"/>
            </a:p>
          </p:txBody>
        </p:sp>
        <p:sp>
          <p:nvSpPr>
            <p:cNvPr id="139" name="bk object 28">
              <a:extLst>
                <a:ext uri="{FF2B5EF4-FFF2-40B4-BE49-F238E27FC236}">
                  <a16:creationId xmlns:a16="http://schemas.microsoft.com/office/drawing/2014/main" id="{B32D8E19-1051-0ED8-E234-270DB4556F69}"/>
                </a:ext>
              </a:extLst>
            </p:cNvPr>
            <p:cNvSpPr/>
            <p:nvPr/>
          </p:nvSpPr>
          <p:spPr>
            <a:xfrm>
              <a:off x="8029985" y="432467"/>
              <a:ext cx="107064" cy="321280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40" name="bk object 29">
              <a:extLst>
                <a:ext uri="{FF2B5EF4-FFF2-40B4-BE49-F238E27FC236}">
                  <a16:creationId xmlns:a16="http://schemas.microsoft.com/office/drawing/2014/main" id="{AF73EEBF-16F7-9336-0085-9127C8D204A5}"/>
                </a:ext>
              </a:extLst>
            </p:cNvPr>
            <p:cNvSpPr/>
            <p:nvPr/>
          </p:nvSpPr>
          <p:spPr>
            <a:xfrm>
              <a:off x="8351179" y="539533"/>
              <a:ext cx="10707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41" name="bk object 30">
              <a:extLst>
                <a:ext uri="{FF2B5EF4-FFF2-40B4-BE49-F238E27FC236}">
                  <a16:creationId xmlns:a16="http://schemas.microsoft.com/office/drawing/2014/main" id="{23B51873-C0AF-DD27-EF2B-5FF4040F162B}"/>
                </a:ext>
              </a:extLst>
            </p:cNvPr>
            <p:cNvSpPr/>
            <p:nvPr/>
          </p:nvSpPr>
          <p:spPr>
            <a:xfrm>
              <a:off x="8672372" y="539533"/>
              <a:ext cx="10707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 dirty="0"/>
            </a:p>
          </p:txBody>
        </p:sp>
        <p:sp>
          <p:nvSpPr>
            <p:cNvPr id="142" name="bk object 31">
              <a:extLst>
                <a:ext uri="{FF2B5EF4-FFF2-40B4-BE49-F238E27FC236}">
                  <a16:creationId xmlns:a16="http://schemas.microsoft.com/office/drawing/2014/main" id="{AC2889E2-AAD2-40AE-EB5E-94E8DB1AFAAC}"/>
                </a:ext>
              </a:extLst>
            </p:cNvPr>
            <p:cNvSpPr/>
            <p:nvPr/>
          </p:nvSpPr>
          <p:spPr>
            <a:xfrm>
              <a:off x="8993589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43" name="bk object 32">
              <a:extLst>
                <a:ext uri="{FF2B5EF4-FFF2-40B4-BE49-F238E27FC236}">
                  <a16:creationId xmlns:a16="http://schemas.microsoft.com/office/drawing/2014/main" id="{247E4182-311C-39EE-0A76-2AC130312319}"/>
                </a:ext>
              </a:extLst>
            </p:cNvPr>
            <p:cNvSpPr/>
            <p:nvPr/>
          </p:nvSpPr>
          <p:spPr>
            <a:xfrm>
              <a:off x="9314783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44" name="bk object 33">
              <a:extLst>
                <a:ext uri="{FF2B5EF4-FFF2-40B4-BE49-F238E27FC236}">
                  <a16:creationId xmlns:a16="http://schemas.microsoft.com/office/drawing/2014/main" id="{56DF35C8-D13C-B3C6-D713-9DB7A5C2EFFE}"/>
                </a:ext>
              </a:extLst>
            </p:cNvPr>
            <p:cNvSpPr/>
            <p:nvPr/>
          </p:nvSpPr>
          <p:spPr>
            <a:xfrm>
              <a:off x="6423971" y="432467"/>
              <a:ext cx="107064" cy="321280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45" name="bk object 34">
              <a:extLst>
                <a:ext uri="{FF2B5EF4-FFF2-40B4-BE49-F238E27FC236}">
                  <a16:creationId xmlns:a16="http://schemas.microsoft.com/office/drawing/2014/main" id="{4B22EC5D-27AD-3BE7-E293-FDA3021FE264}"/>
                </a:ext>
              </a:extLst>
            </p:cNvPr>
            <p:cNvSpPr/>
            <p:nvPr/>
          </p:nvSpPr>
          <p:spPr>
            <a:xfrm>
              <a:off x="6745186" y="539533"/>
              <a:ext cx="10707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46" name="bk object 35">
              <a:extLst>
                <a:ext uri="{FF2B5EF4-FFF2-40B4-BE49-F238E27FC236}">
                  <a16:creationId xmlns:a16="http://schemas.microsoft.com/office/drawing/2014/main" id="{38ABC13E-D23F-2B36-7EB3-4E4231EA5D8B}"/>
                </a:ext>
              </a:extLst>
            </p:cNvPr>
            <p:cNvSpPr/>
            <p:nvPr/>
          </p:nvSpPr>
          <p:spPr>
            <a:xfrm>
              <a:off x="7066381" y="539533"/>
              <a:ext cx="10707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47" name="bk object 36">
              <a:extLst>
                <a:ext uri="{FF2B5EF4-FFF2-40B4-BE49-F238E27FC236}">
                  <a16:creationId xmlns:a16="http://schemas.microsoft.com/office/drawing/2014/main" id="{0940A5FD-B06C-D07D-9E21-65643797325F}"/>
                </a:ext>
              </a:extLst>
            </p:cNvPr>
            <p:cNvSpPr/>
            <p:nvPr/>
          </p:nvSpPr>
          <p:spPr>
            <a:xfrm>
              <a:off x="7387554" y="539533"/>
              <a:ext cx="10707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48" name="bk object 37">
              <a:extLst>
                <a:ext uri="{FF2B5EF4-FFF2-40B4-BE49-F238E27FC236}">
                  <a16:creationId xmlns:a16="http://schemas.microsoft.com/office/drawing/2014/main" id="{3D22C0DC-0EC0-8083-AE97-4065FB783693}"/>
                </a:ext>
              </a:extLst>
            </p:cNvPr>
            <p:cNvSpPr/>
            <p:nvPr/>
          </p:nvSpPr>
          <p:spPr>
            <a:xfrm>
              <a:off x="7708790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49" name="bk object 38">
              <a:extLst>
                <a:ext uri="{FF2B5EF4-FFF2-40B4-BE49-F238E27FC236}">
                  <a16:creationId xmlns:a16="http://schemas.microsoft.com/office/drawing/2014/main" id="{E83F824D-438B-FD5C-429D-C97F43BFF38C}"/>
                </a:ext>
              </a:extLst>
            </p:cNvPr>
            <p:cNvSpPr/>
            <p:nvPr/>
          </p:nvSpPr>
          <p:spPr>
            <a:xfrm>
              <a:off x="4817978" y="432467"/>
              <a:ext cx="107064" cy="321280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50" name="bk object 39">
              <a:extLst>
                <a:ext uri="{FF2B5EF4-FFF2-40B4-BE49-F238E27FC236}">
                  <a16:creationId xmlns:a16="http://schemas.microsoft.com/office/drawing/2014/main" id="{1B025849-70F0-558E-C51F-2899A39F1549}"/>
                </a:ext>
              </a:extLst>
            </p:cNvPr>
            <p:cNvSpPr/>
            <p:nvPr/>
          </p:nvSpPr>
          <p:spPr>
            <a:xfrm>
              <a:off x="5139172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51" name="bk object 40">
              <a:extLst>
                <a:ext uri="{FF2B5EF4-FFF2-40B4-BE49-F238E27FC236}">
                  <a16:creationId xmlns:a16="http://schemas.microsoft.com/office/drawing/2014/main" id="{D44625D1-D50D-C823-ED49-9EC55A1B102D}"/>
                </a:ext>
              </a:extLst>
            </p:cNvPr>
            <p:cNvSpPr/>
            <p:nvPr/>
          </p:nvSpPr>
          <p:spPr>
            <a:xfrm>
              <a:off x="5460366" y="539533"/>
              <a:ext cx="10707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52" name="bk object 41">
              <a:extLst>
                <a:ext uri="{FF2B5EF4-FFF2-40B4-BE49-F238E27FC236}">
                  <a16:creationId xmlns:a16="http://schemas.microsoft.com/office/drawing/2014/main" id="{A785135F-1B96-1D9A-CFEB-45BA05BB004E}"/>
                </a:ext>
              </a:extLst>
            </p:cNvPr>
            <p:cNvSpPr/>
            <p:nvPr/>
          </p:nvSpPr>
          <p:spPr>
            <a:xfrm>
              <a:off x="5781561" y="539533"/>
              <a:ext cx="10707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53" name="bk object 42">
              <a:extLst>
                <a:ext uri="{FF2B5EF4-FFF2-40B4-BE49-F238E27FC236}">
                  <a16:creationId xmlns:a16="http://schemas.microsoft.com/office/drawing/2014/main" id="{FF77E153-AA9F-3BC1-0732-DC00E66DE062}"/>
                </a:ext>
              </a:extLst>
            </p:cNvPr>
            <p:cNvSpPr/>
            <p:nvPr/>
          </p:nvSpPr>
          <p:spPr>
            <a:xfrm>
              <a:off x="6102777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54" name="bk object 43">
              <a:extLst>
                <a:ext uri="{FF2B5EF4-FFF2-40B4-BE49-F238E27FC236}">
                  <a16:creationId xmlns:a16="http://schemas.microsoft.com/office/drawing/2014/main" id="{10D2E41C-3F69-E3EA-A356-72F9166D1633}"/>
                </a:ext>
              </a:extLst>
            </p:cNvPr>
            <p:cNvSpPr/>
            <p:nvPr/>
          </p:nvSpPr>
          <p:spPr>
            <a:xfrm>
              <a:off x="3211985" y="432467"/>
              <a:ext cx="107065" cy="321280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55" name="bk object 44">
              <a:extLst>
                <a:ext uri="{FF2B5EF4-FFF2-40B4-BE49-F238E27FC236}">
                  <a16:creationId xmlns:a16="http://schemas.microsoft.com/office/drawing/2014/main" id="{79D0DD46-DD0A-2825-6EDE-751387C65123}"/>
                </a:ext>
              </a:extLst>
            </p:cNvPr>
            <p:cNvSpPr/>
            <p:nvPr/>
          </p:nvSpPr>
          <p:spPr>
            <a:xfrm>
              <a:off x="3533179" y="539533"/>
              <a:ext cx="10706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56" name="bk object 45">
              <a:extLst>
                <a:ext uri="{FF2B5EF4-FFF2-40B4-BE49-F238E27FC236}">
                  <a16:creationId xmlns:a16="http://schemas.microsoft.com/office/drawing/2014/main" id="{0BD5144B-CF2C-3729-30D9-73245B9DFB35}"/>
                </a:ext>
              </a:extLst>
            </p:cNvPr>
            <p:cNvSpPr/>
            <p:nvPr/>
          </p:nvSpPr>
          <p:spPr>
            <a:xfrm>
              <a:off x="3854374" y="539533"/>
              <a:ext cx="107076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57" name="bk object 46">
              <a:extLst>
                <a:ext uri="{FF2B5EF4-FFF2-40B4-BE49-F238E27FC236}">
                  <a16:creationId xmlns:a16="http://schemas.microsoft.com/office/drawing/2014/main" id="{762EB535-F638-6B5B-6CE8-EC6D5E590154}"/>
                </a:ext>
              </a:extLst>
            </p:cNvPr>
            <p:cNvSpPr/>
            <p:nvPr/>
          </p:nvSpPr>
          <p:spPr>
            <a:xfrm>
              <a:off x="4175578" y="539533"/>
              <a:ext cx="10706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58" name="bk object 47">
              <a:extLst>
                <a:ext uri="{FF2B5EF4-FFF2-40B4-BE49-F238E27FC236}">
                  <a16:creationId xmlns:a16="http://schemas.microsoft.com/office/drawing/2014/main" id="{C8698BE6-B59D-8EF4-2F16-B214BBF3F49D}"/>
                </a:ext>
              </a:extLst>
            </p:cNvPr>
            <p:cNvSpPr/>
            <p:nvPr/>
          </p:nvSpPr>
          <p:spPr>
            <a:xfrm>
              <a:off x="4496784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59" name="bk object 48">
              <a:extLst>
                <a:ext uri="{FF2B5EF4-FFF2-40B4-BE49-F238E27FC236}">
                  <a16:creationId xmlns:a16="http://schemas.microsoft.com/office/drawing/2014/main" id="{1BDB9DE0-21B9-C2D2-8A0D-20703972431F}"/>
                </a:ext>
              </a:extLst>
            </p:cNvPr>
            <p:cNvSpPr/>
            <p:nvPr/>
          </p:nvSpPr>
          <p:spPr>
            <a:xfrm>
              <a:off x="1605992" y="432467"/>
              <a:ext cx="107065" cy="321280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60" name="bk object 49">
              <a:extLst>
                <a:ext uri="{FF2B5EF4-FFF2-40B4-BE49-F238E27FC236}">
                  <a16:creationId xmlns:a16="http://schemas.microsoft.com/office/drawing/2014/main" id="{884D8B28-8C77-ADE6-93C3-CF6654F61A68}"/>
                </a:ext>
              </a:extLst>
            </p:cNvPr>
            <p:cNvSpPr/>
            <p:nvPr/>
          </p:nvSpPr>
          <p:spPr>
            <a:xfrm>
              <a:off x="1927186" y="539533"/>
              <a:ext cx="10706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61" name="bk object 50">
              <a:extLst>
                <a:ext uri="{FF2B5EF4-FFF2-40B4-BE49-F238E27FC236}">
                  <a16:creationId xmlns:a16="http://schemas.microsoft.com/office/drawing/2014/main" id="{55F97FE5-5BFD-B6D6-107C-4E78C2168E72}"/>
                </a:ext>
              </a:extLst>
            </p:cNvPr>
            <p:cNvSpPr/>
            <p:nvPr/>
          </p:nvSpPr>
          <p:spPr>
            <a:xfrm>
              <a:off x="2248381" y="539533"/>
              <a:ext cx="107076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62" name="bk object 51">
              <a:extLst>
                <a:ext uri="{FF2B5EF4-FFF2-40B4-BE49-F238E27FC236}">
                  <a16:creationId xmlns:a16="http://schemas.microsoft.com/office/drawing/2014/main" id="{457317F0-5B56-6E00-BB0F-FDB63161859D}"/>
                </a:ext>
              </a:extLst>
            </p:cNvPr>
            <p:cNvSpPr/>
            <p:nvPr/>
          </p:nvSpPr>
          <p:spPr>
            <a:xfrm>
              <a:off x="2569586" y="539533"/>
              <a:ext cx="10706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63" name="bk object 52">
              <a:extLst>
                <a:ext uri="{FF2B5EF4-FFF2-40B4-BE49-F238E27FC236}">
                  <a16:creationId xmlns:a16="http://schemas.microsoft.com/office/drawing/2014/main" id="{4282D5B2-D227-1DAB-13B8-D94737E0B7A7}"/>
                </a:ext>
              </a:extLst>
            </p:cNvPr>
            <p:cNvSpPr/>
            <p:nvPr/>
          </p:nvSpPr>
          <p:spPr>
            <a:xfrm>
              <a:off x="2890791" y="539533"/>
              <a:ext cx="10706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64" name="bk object 53">
              <a:extLst>
                <a:ext uri="{FF2B5EF4-FFF2-40B4-BE49-F238E27FC236}">
                  <a16:creationId xmlns:a16="http://schemas.microsoft.com/office/drawing/2014/main" id="{7761A9F9-5B64-4ECE-EDF7-B511B87EBB37}"/>
                </a:ext>
              </a:extLst>
            </p:cNvPr>
            <p:cNvSpPr/>
            <p:nvPr/>
          </p:nvSpPr>
          <p:spPr>
            <a:xfrm>
              <a:off x="0" y="432467"/>
              <a:ext cx="107064" cy="321280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65" name="bk object 54">
              <a:extLst>
                <a:ext uri="{FF2B5EF4-FFF2-40B4-BE49-F238E27FC236}">
                  <a16:creationId xmlns:a16="http://schemas.microsoft.com/office/drawing/2014/main" id="{E9FFB6B8-8616-15C6-7358-8E9AC97BBA0C}"/>
                </a:ext>
              </a:extLst>
            </p:cNvPr>
            <p:cNvSpPr/>
            <p:nvPr/>
          </p:nvSpPr>
          <p:spPr>
            <a:xfrm>
              <a:off x="321172" y="539533"/>
              <a:ext cx="10706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66" name="bk object 55">
              <a:extLst>
                <a:ext uri="{FF2B5EF4-FFF2-40B4-BE49-F238E27FC236}">
                  <a16:creationId xmlns:a16="http://schemas.microsoft.com/office/drawing/2014/main" id="{138CBBD0-1BF5-BFEE-7262-9947CA907728}"/>
                </a:ext>
              </a:extLst>
            </p:cNvPr>
            <p:cNvSpPr/>
            <p:nvPr/>
          </p:nvSpPr>
          <p:spPr>
            <a:xfrm>
              <a:off x="642367" y="539533"/>
              <a:ext cx="10706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67" name="bk object 56">
              <a:extLst>
                <a:ext uri="{FF2B5EF4-FFF2-40B4-BE49-F238E27FC236}">
                  <a16:creationId xmlns:a16="http://schemas.microsoft.com/office/drawing/2014/main" id="{90E3A7DB-D4C5-1995-BBE9-23905FE41EC0}"/>
                </a:ext>
              </a:extLst>
            </p:cNvPr>
            <p:cNvSpPr/>
            <p:nvPr/>
          </p:nvSpPr>
          <p:spPr>
            <a:xfrm>
              <a:off x="963593" y="539533"/>
              <a:ext cx="10706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68" name="bk object 57">
              <a:extLst>
                <a:ext uri="{FF2B5EF4-FFF2-40B4-BE49-F238E27FC236}">
                  <a16:creationId xmlns:a16="http://schemas.microsoft.com/office/drawing/2014/main" id="{2102E5FE-DAB6-7E60-25A7-A6D279A5D342}"/>
                </a:ext>
              </a:extLst>
            </p:cNvPr>
            <p:cNvSpPr/>
            <p:nvPr/>
          </p:nvSpPr>
          <p:spPr>
            <a:xfrm>
              <a:off x="1284798" y="539533"/>
              <a:ext cx="10706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69" name="bk object 58">
              <a:extLst>
                <a:ext uri="{FF2B5EF4-FFF2-40B4-BE49-F238E27FC236}">
                  <a16:creationId xmlns:a16="http://schemas.microsoft.com/office/drawing/2014/main" id="{FAFCAAB6-0784-9B7A-E0EB-B64CA6B398BD}"/>
                </a:ext>
              </a:extLst>
            </p:cNvPr>
            <p:cNvSpPr/>
            <p:nvPr/>
          </p:nvSpPr>
          <p:spPr>
            <a:xfrm>
              <a:off x="11563174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70" name="bk object 59">
              <a:extLst>
                <a:ext uri="{FF2B5EF4-FFF2-40B4-BE49-F238E27FC236}">
                  <a16:creationId xmlns:a16="http://schemas.microsoft.com/office/drawing/2014/main" id="{B4988D82-ADB6-E739-A23E-D4DAD8972ED6}"/>
                </a:ext>
              </a:extLst>
            </p:cNvPr>
            <p:cNvSpPr/>
            <p:nvPr/>
          </p:nvSpPr>
          <p:spPr>
            <a:xfrm>
              <a:off x="11884369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71" name="bk object 60">
              <a:extLst>
                <a:ext uri="{FF2B5EF4-FFF2-40B4-BE49-F238E27FC236}">
                  <a16:creationId xmlns:a16="http://schemas.microsoft.com/office/drawing/2014/main" id="{45082119-0E82-976F-D89A-98117E69DD14}"/>
                </a:ext>
              </a:extLst>
            </p:cNvPr>
            <p:cNvSpPr/>
            <p:nvPr/>
          </p:nvSpPr>
          <p:spPr>
            <a:xfrm>
              <a:off x="12205575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72" name="bk object 61">
              <a:extLst>
                <a:ext uri="{FF2B5EF4-FFF2-40B4-BE49-F238E27FC236}">
                  <a16:creationId xmlns:a16="http://schemas.microsoft.com/office/drawing/2014/main" id="{8E45ED4C-DF8A-E3A0-A859-02E1A86596AE}"/>
                </a:ext>
              </a:extLst>
            </p:cNvPr>
            <p:cNvSpPr/>
            <p:nvPr/>
          </p:nvSpPr>
          <p:spPr>
            <a:xfrm>
              <a:off x="12526757" y="539533"/>
              <a:ext cx="10707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grpSp>
          <p:nvGrpSpPr>
            <p:cNvPr id="173" name="Группа 365">
              <a:extLst>
                <a:ext uri="{FF2B5EF4-FFF2-40B4-BE49-F238E27FC236}">
                  <a16:creationId xmlns:a16="http://schemas.microsoft.com/office/drawing/2014/main" id="{B11BA46D-5948-C7C5-810D-1813DCF5BD97}"/>
                </a:ext>
              </a:extLst>
            </p:cNvPr>
            <p:cNvGrpSpPr/>
            <p:nvPr/>
          </p:nvGrpSpPr>
          <p:grpSpPr>
            <a:xfrm>
              <a:off x="12826047" y="0"/>
              <a:ext cx="1713601" cy="753778"/>
              <a:chOff x="0" y="0"/>
              <a:chExt cx="1713599" cy="753777"/>
            </a:xfrm>
          </p:grpSpPr>
          <p:sp>
            <p:nvSpPr>
              <p:cNvPr id="174" name="Rectangle 139">
                <a:extLst>
                  <a:ext uri="{FF2B5EF4-FFF2-40B4-BE49-F238E27FC236}">
                    <a16:creationId xmlns:a16="http://schemas.microsoft.com/office/drawing/2014/main" id="{B0FDCA89-6792-81E6-49EB-03A31D001C7B}"/>
                  </a:ext>
                </a:extLst>
              </p:cNvPr>
              <p:cNvSpPr/>
              <p:nvPr/>
            </p:nvSpPr>
            <p:spPr>
              <a:xfrm>
                <a:off x="-1" y="3434"/>
                <a:ext cx="109891" cy="75034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175" name="Rectangle 140">
                <a:extLst>
                  <a:ext uri="{FF2B5EF4-FFF2-40B4-BE49-F238E27FC236}">
                    <a16:creationId xmlns:a16="http://schemas.microsoft.com/office/drawing/2014/main" id="{0B5E8428-359C-4434-0EB4-F95077BE63F2}"/>
                  </a:ext>
                </a:extLst>
              </p:cNvPr>
              <p:cNvSpPr/>
              <p:nvPr/>
            </p:nvSpPr>
            <p:spPr>
              <a:xfrm>
                <a:off x="322802" y="540865"/>
                <a:ext cx="106457" cy="212913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176" name="Rectangle 141">
                <a:extLst>
                  <a:ext uri="{FF2B5EF4-FFF2-40B4-BE49-F238E27FC236}">
                    <a16:creationId xmlns:a16="http://schemas.microsoft.com/office/drawing/2014/main" id="{D3F552A4-3FE1-39F4-93E0-786DAA5E3376}"/>
                  </a:ext>
                </a:extLst>
              </p:cNvPr>
              <p:cNvSpPr/>
              <p:nvPr/>
            </p:nvSpPr>
            <p:spPr>
              <a:xfrm>
                <a:off x="642170" y="540865"/>
                <a:ext cx="109891" cy="212913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177" name="Rectangle 142">
                <a:extLst>
                  <a:ext uri="{FF2B5EF4-FFF2-40B4-BE49-F238E27FC236}">
                    <a16:creationId xmlns:a16="http://schemas.microsoft.com/office/drawing/2014/main" id="{AFEBBB26-7978-F8E7-5638-E228784CBC5A}"/>
                  </a:ext>
                </a:extLst>
              </p:cNvPr>
              <p:cNvSpPr/>
              <p:nvPr/>
            </p:nvSpPr>
            <p:spPr>
              <a:xfrm>
                <a:off x="964973" y="540865"/>
                <a:ext cx="106457" cy="212913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178" name="Rectangle 143">
                <a:extLst>
                  <a:ext uri="{FF2B5EF4-FFF2-40B4-BE49-F238E27FC236}">
                    <a16:creationId xmlns:a16="http://schemas.microsoft.com/office/drawing/2014/main" id="{171CFDC7-A52C-7811-56E9-C7AEB91BEC43}"/>
                  </a:ext>
                </a:extLst>
              </p:cNvPr>
              <p:cNvSpPr/>
              <p:nvPr/>
            </p:nvSpPr>
            <p:spPr>
              <a:xfrm>
                <a:off x="1287775" y="540865"/>
                <a:ext cx="106457" cy="212913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179" name="Freeform 144">
                <a:extLst>
                  <a:ext uri="{FF2B5EF4-FFF2-40B4-BE49-F238E27FC236}">
                    <a16:creationId xmlns:a16="http://schemas.microsoft.com/office/drawing/2014/main" id="{1690A575-B711-BB0A-36C9-DFF7650D1569}"/>
                  </a:ext>
                </a:extLst>
              </p:cNvPr>
              <p:cNvSpPr/>
              <p:nvPr/>
            </p:nvSpPr>
            <p:spPr>
              <a:xfrm>
                <a:off x="1177885" y="3434"/>
                <a:ext cx="322803" cy="43097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0" y="0"/>
                    </a:lnTo>
                    <a:lnTo>
                      <a:pt x="0" y="5335"/>
                    </a:lnTo>
                    <a:lnTo>
                      <a:pt x="7353" y="5335"/>
                    </a:lnTo>
                    <a:lnTo>
                      <a:pt x="7353" y="21600"/>
                    </a:lnTo>
                    <a:lnTo>
                      <a:pt x="14477" y="21600"/>
                    </a:lnTo>
                    <a:lnTo>
                      <a:pt x="14477" y="5335"/>
                    </a:lnTo>
                    <a:lnTo>
                      <a:pt x="21600" y="5335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180" name="Rectangle 145">
                <a:extLst>
                  <a:ext uri="{FF2B5EF4-FFF2-40B4-BE49-F238E27FC236}">
                    <a16:creationId xmlns:a16="http://schemas.microsoft.com/office/drawing/2014/main" id="{9874C783-3863-FF89-352D-F80254527FA6}"/>
                  </a:ext>
                </a:extLst>
              </p:cNvPr>
              <p:cNvSpPr/>
              <p:nvPr/>
            </p:nvSpPr>
            <p:spPr>
              <a:xfrm>
                <a:off x="1607143" y="3434"/>
                <a:ext cx="106457" cy="75034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181" name="Freeform 146">
                <a:extLst>
                  <a:ext uri="{FF2B5EF4-FFF2-40B4-BE49-F238E27FC236}">
                    <a16:creationId xmlns:a16="http://schemas.microsoft.com/office/drawing/2014/main" id="{D2B25286-E124-5CFD-42B1-56FD2C9E72B0}"/>
                  </a:ext>
                </a:extLst>
              </p:cNvPr>
              <p:cNvSpPr/>
              <p:nvPr/>
            </p:nvSpPr>
            <p:spPr>
              <a:xfrm>
                <a:off x="322802" y="3434"/>
                <a:ext cx="319369" cy="43097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916" y="10671"/>
                    </a:moveTo>
                    <a:lnTo>
                      <a:pt x="7200" y="10671"/>
                    </a:lnTo>
                    <a:lnTo>
                      <a:pt x="7200" y="5335"/>
                    </a:lnTo>
                    <a:lnTo>
                      <a:pt x="11613" y="5335"/>
                    </a:lnTo>
                    <a:lnTo>
                      <a:pt x="12310" y="5508"/>
                    </a:lnTo>
                    <a:lnTo>
                      <a:pt x="13471" y="6196"/>
                    </a:lnTo>
                    <a:lnTo>
                      <a:pt x="14168" y="7057"/>
                    </a:lnTo>
                    <a:lnTo>
                      <a:pt x="14400" y="7401"/>
                    </a:lnTo>
                    <a:lnTo>
                      <a:pt x="14400" y="8606"/>
                    </a:lnTo>
                    <a:lnTo>
                      <a:pt x="14168" y="9122"/>
                    </a:lnTo>
                    <a:lnTo>
                      <a:pt x="13471" y="9982"/>
                    </a:lnTo>
                    <a:lnTo>
                      <a:pt x="12310" y="10499"/>
                    </a:lnTo>
                    <a:lnTo>
                      <a:pt x="11613" y="10671"/>
                    </a:lnTo>
                    <a:lnTo>
                      <a:pt x="10916" y="10671"/>
                    </a:lnTo>
                    <a:close/>
                    <a:moveTo>
                      <a:pt x="10916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7200" y="21600"/>
                    </a:lnTo>
                    <a:lnTo>
                      <a:pt x="7200" y="16006"/>
                    </a:lnTo>
                    <a:lnTo>
                      <a:pt x="10916" y="16006"/>
                    </a:lnTo>
                    <a:lnTo>
                      <a:pt x="13006" y="15834"/>
                    </a:lnTo>
                    <a:lnTo>
                      <a:pt x="15097" y="15490"/>
                    </a:lnTo>
                    <a:lnTo>
                      <a:pt x="16955" y="14629"/>
                    </a:lnTo>
                    <a:lnTo>
                      <a:pt x="18581" y="13769"/>
                    </a:lnTo>
                    <a:lnTo>
                      <a:pt x="19974" y="12564"/>
                    </a:lnTo>
                    <a:lnTo>
                      <a:pt x="20903" y="11187"/>
                    </a:lnTo>
                    <a:lnTo>
                      <a:pt x="21600" y="9638"/>
                    </a:lnTo>
                    <a:lnTo>
                      <a:pt x="21600" y="6368"/>
                    </a:lnTo>
                    <a:lnTo>
                      <a:pt x="20903" y="4819"/>
                    </a:lnTo>
                    <a:lnTo>
                      <a:pt x="19974" y="3614"/>
                    </a:lnTo>
                    <a:lnTo>
                      <a:pt x="18581" y="2410"/>
                    </a:lnTo>
                    <a:lnTo>
                      <a:pt x="16955" y="1377"/>
                    </a:lnTo>
                    <a:lnTo>
                      <a:pt x="15097" y="688"/>
                    </a:lnTo>
                    <a:lnTo>
                      <a:pt x="13006" y="172"/>
                    </a:lnTo>
                    <a:lnTo>
                      <a:pt x="10916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182" name="Freeform 149">
                <a:extLst>
                  <a:ext uri="{FF2B5EF4-FFF2-40B4-BE49-F238E27FC236}">
                    <a16:creationId xmlns:a16="http://schemas.microsoft.com/office/drawing/2014/main" id="{63A75907-6C3F-716F-9DDA-7AC86C616C56}"/>
                  </a:ext>
                </a:extLst>
              </p:cNvPr>
              <p:cNvSpPr/>
              <p:nvPr/>
            </p:nvSpPr>
            <p:spPr>
              <a:xfrm>
                <a:off x="721154" y="0"/>
                <a:ext cx="367446" cy="4344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516" y="21600"/>
                    </a:moveTo>
                    <a:lnTo>
                      <a:pt x="10093" y="21429"/>
                    </a:lnTo>
                    <a:lnTo>
                      <a:pt x="7873" y="20746"/>
                    </a:lnTo>
                    <a:lnTo>
                      <a:pt x="6662" y="20405"/>
                    </a:lnTo>
                    <a:lnTo>
                      <a:pt x="5652" y="19892"/>
                    </a:lnTo>
                    <a:lnTo>
                      <a:pt x="4643" y="19124"/>
                    </a:lnTo>
                    <a:lnTo>
                      <a:pt x="2826" y="17587"/>
                    </a:lnTo>
                    <a:lnTo>
                      <a:pt x="2019" y="16734"/>
                    </a:lnTo>
                    <a:lnTo>
                      <a:pt x="1413" y="15880"/>
                    </a:lnTo>
                    <a:lnTo>
                      <a:pt x="807" y="14855"/>
                    </a:lnTo>
                    <a:lnTo>
                      <a:pt x="404" y="13831"/>
                    </a:lnTo>
                    <a:lnTo>
                      <a:pt x="0" y="11782"/>
                    </a:lnTo>
                    <a:lnTo>
                      <a:pt x="0" y="9733"/>
                    </a:lnTo>
                    <a:lnTo>
                      <a:pt x="404" y="7684"/>
                    </a:lnTo>
                    <a:lnTo>
                      <a:pt x="807" y="6659"/>
                    </a:lnTo>
                    <a:lnTo>
                      <a:pt x="1413" y="5635"/>
                    </a:lnTo>
                    <a:lnTo>
                      <a:pt x="2019" y="4781"/>
                    </a:lnTo>
                    <a:lnTo>
                      <a:pt x="2826" y="3927"/>
                    </a:lnTo>
                    <a:lnTo>
                      <a:pt x="4643" y="2391"/>
                    </a:lnTo>
                    <a:lnTo>
                      <a:pt x="5652" y="1878"/>
                    </a:lnTo>
                    <a:lnTo>
                      <a:pt x="6662" y="1195"/>
                    </a:lnTo>
                    <a:lnTo>
                      <a:pt x="7873" y="854"/>
                    </a:lnTo>
                    <a:lnTo>
                      <a:pt x="10093" y="171"/>
                    </a:lnTo>
                    <a:lnTo>
                      <a:pt x="12516" y="0"/>
                    </a:lnTo>
                    <a:lnTo>
                      <a:pt x="14938" y="171"/>
                    </a:lnTo>
                    <a:lnTo>
                      <a:pt x="18572" y="1195"/>
                    </a:lnTo>
                    <a:lnTo>
                      <a:pt x="19581" y="1878"/>
                    </a:lnTo>
                    <a:lnTo>
                      <a:pt x="20591" y="2391"/>
                    </a:lnTo>
                    <a:lnTo>
                      <a:pt x="21600" y="3244"/>
                    </a:lnTo>
                    <a:lnTo>
                      <a:pt x="17159" y="7001"/>
                    </a:lnTo>
                    <a:lnTo>
                      <a:pt x="16150" y="6318"/>
                    </a:lnTo>
                    <a:lnTo>
                      <a:pt x="14938" y="5806"/>
                    </a:lnTo>
                    <a:lnTo>
                      <a:pt x="13727" y="5464"/>
                    </a:lnTo>
                    <a:lnTo>
                      <a:pt x="12516" y="5293"/>
                    </a:lnTo>
                    <a:lnTo>
                      <a:pt x="11305" y="5464"/>
                    </a:lnTo>
                    <a:lnTo>
                      <a:pt x="10093" y="5806"/>
                    </a:lnTo>
                    <a:lnTo>
                      <a:pt x="9084" y="6318"/>
                    </a:lnTo>
                    <a:lnTo>
                      <a:pt x="8075" y="7001"/>
                    </a:lnTo>
                    <a:lnTo>
                      <a:pt x="7267" y="7855"/>
                    </a:lnTo>
                    <a:lnTo>
                      <a:pt x="6662" y="8708"/>
                    </a:lnTo>
                    <a:lnTo>
                      <a:pt x="6258" y="9733"/>
                    </a:lnTo>
                    <a:lnTo>
                      <a:pt x="6258" y="11782"/>
                    </a:lnTo>
                    <a:lnTo>
                      <a:pt x="6662" y="12806"/>
                    </a:lnTo>
                    <a:lnTo>
                      <a:pt x="7267" y="13831"/>
                    </a:lnTo>
                    <a:lnTo>
                      <a:pt x="8075" y="14514"/>
                    </a:lnTo>
                    <a:lnTo>
                      <a:pt x="9084" y="15197"/>
                    </a:lnTo>
                    <a:lnTo>
                      <a:pt x="10093" y="15709"/>
                    </a:lnTo>
                    <a:lnTo>
                      <a:pt x="11305" y="16051"/>
                    </a:lnTo>
                    <a:lnTo>
                      <a:pt x="12516" y="16221"/>
                    </a:lnTo>
                    <a:lnTo>
                      <a:pt x="13727" y="16051"/>
                    </a:lnTo>
                    <a:lnTo>
                      <a:pt x="14938" y="15709"/>
                    </a:lnTo>
                    <a:lnTo>
                      <a:pt x="16150" y="15197"/>
                    </a:lnTo>
                    <a:lnTo>
                      <a:pt x="17159" y="14514"/>
                    </a:lnTo>
                    <a:lnTo>
                      <a:pt x="21600" y="18270"/>
                    </a:lnTo>
                    <a:lnTo>
                      <a:pt x="20591" y="19124"/>
                    </a:lnTo>
                    <a:lnTo>
                      <a:pt x="19581" y="19892"/>
                    </a:lnTo>
                    <a:lnTo>
                      <a:pt x="18572" y="20405"/>
                    </a:lnTo>
                    <a:lnTo>
                      <a:pt x="14938" y="21429"/>
                    </a:lnTo>
                    <a:lnTo>
                      <a:pt x="12516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58752788"/>
      </p:ext>
    </p:extLst>
  </p:cSld>
  <p:clrMapOvr>
    <a:masterClrMapping/>
  </p:clrMapOvr>
  <p:transition spd="slow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7F72DD3-0D90-496C-83C3-5F0A3302D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800">
                <a:latin typeface="Circe Bold" panose="020B0602020203020203" pitchFamily="34" charset="-52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330837AE-3173-40BB-944C-51CD0E2F44D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Circe" panose="020F0502020204030204" pitchFamily="34" charset="-52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397BEF5-B5BA-44C0-8543-D7E6662BAC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Circe" panose="020F0502020204030204" pitchFamily="34" charset="-52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D97895B8-3328-4CB7-B381-D6BDE02FE4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4CAACDC-FB85-4526-908F-03D0448E61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3CB7D77-A579-4F13-B214-02548F40C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fld id="{CB2CB213-F844-4B39-8950-FE8C49B3D154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5856215"/>
      </p:ext>
    </p:extLst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DA3FA17-9A95-4F0C-84E1-79BFA60071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E25363F-7A6A-465B-9541-074D17C11D6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Circe" panose="020F0502020204030204" pitchFamily="34" charset="-52"/>
              </a:defRPr>
            </a:lvl1pPr>
            <a:lvl2pPr>
              <a:defRPr>
                <a:latin typeface="Circe" panose="020F0502020204030204" pitchFamily="34" charset="-52"/>
              </a:defRPr>
            </a:lvl2pPr>
            <a:lvl3pPr>
              <a:defRPr>
                <a:latin typeface="Circe" panose="020F0502020204030204" pitchFamily="34" charset="-52"/>
              </a:defRPr>
            </a:lvl3pPr>
            <a:lvl4pPr>
              <a:defRPr>
                <a:latin typeface="Circe" panose="020F0502020204030204" pitchFamily="34" charset="-52"/>
              </a:defRPr>
            </a:lvl4pPr>
            <a:lvl5pPr>
              <a:defRPr>
                <a:latin typeface="Circe" panose="020F0502020204030204" pitchFamily="34" charset="-52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DB2D70F-BBF1-4E45-803D-7E7B6568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137B371-2B37-4881-A370-6147224456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ED4CEAF-DE0D-47CA-8293-0A9D5F6A34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4D0D7A-AB7C-4327-A4FF-6F565C7FDBA5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2465252"/>
      </p:ext>
    </p:extLst>
  </p:cSld>
  <p:clrMapOvr>
    <a:masterClrMapping/>
  </p:clrMapOvr>
  <p:transition spd="slow">
    <p:push dir="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093F6B42-6084-400A-81E4-4B85DC9383C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2622FA5A-9664-4BE6-A70B-2ABAC2426D4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Circe" panose="020F0502020204030204" pitchFamily="34" charset="-52"/>
              </a:defRPr>
            </a:lvl1pPr>
            <a:lvl2pPr>
              <a:defRPr>
                <a:latin typeface="Circe" panose="020F0502020204030204" pitchFamily="34" charset="-52"/>
              </a:defRPr>
            </a:lvl2pPr>
            <a:lvl3pPr>
              <a:defRPr>
                <a:latin typeface="Circe" panose="020F0502020204030204" pitchFamily="34" charset="-52"/>
              </a:defRPr>
            </a:lvl3pPr>
            <a:lvl4pPr>
              <a:defRPr>
                <a:latin typeface="Circe" panose="020F0502020204030204" pitchFamily="34" charset="-52"/>
              </a:defRPr>
            </a:lvl4pPr>
            <a:lvl5pPr>
              <a:defRPr>
                <a:latin typeface="Circe" panose="020F0502020204030204" pitchFamily="34" charset="-52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7BBF975-99CC-4F8C-9DD4-C73566ED83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312329C-6754-4901-A264-373CA4CC88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322E10A-0D30-458C-8655-AF719C7416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748A536-D4B7-459B-AF09-9DAE427823F9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9610532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ловок и нижний колон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3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01434784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Страница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E6B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60" name="object 5"/>
          <p:cNvSpPr/>
          <p:nvPr/>
        </p:nvSpPr>
        <p:spPr>
          <a:xfrm flipV="1">
            <a:off x="736599" y="116632"/>
            <a:ext cx="1" cy="648072"/>
          </a:xfrm>
          <a:prstGeom prst="line">
            <a:avLst/>
          </a:prstGeom>
          <a:ln w="20941">
            <a:solidFill>
              <a:srgbClr val="004E6B"/>
            </a:solidFill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16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17535" y="264546"/>
            <a:ext cx="10226204" cy="36881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E6B"/>
                </a:solidFill>
              </a:defRPr>
            </a:lvl1pPr>
          </a:lstStyle>
          <a:p>
            <a:r>
              <a:rPr dirty="0" err="1"/>
              <a:t>Текст</a:t>
            </a:r>
            <a:r>
              <a:rPr dirty="0"/>
              <a:t> </a:t>
            </a:r>
            <a:r>
              <a:rPr dirty="0" err="1"/>
              <a:t>заголовка</a:t>
            </a:r>
            <a:endParaRPr dirty="0"/>
          </a:p>
        </p:txBody>
      </p:sp>
      <p:pic>
        <p:nvPicPr>
          <p:cNvPr id="163" name="fon-05.png" descr="fon-05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6624" y="6155641"/>
            <a:ext cx="10832542" cy="253406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C5D58D2-0CD4-D963-96FF-14E2F5697F0F}"/>
              </a:ext>
            </a:extLst>
          </p:cNvPr>
          <p:cNvSpPr/>
          <p:nvPr userDrawn="1"/>
        </p:nvSpPr>
        <p:spPr>
          <a:xfrm>
            <a:off x="641349" y="224668"/>
            <a:ext cx="95249" cy="432000"/>
          </a:xfrm>
          <a:prstGeom prst="rect">
            <a:avLst/>
          </a:prstGeom>
          <a:solidFill>
            <a:srgbClr val="004E6B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76850430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Страница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E6B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60" name="object 5"/>
          <p:cNvSpPr/>
          <p:nvPr/>
        </p:nvSpPr>
        <p:spPr>
          <a:xfrm flipV="1">
            <a:off x="736599" y="116632"/>
            <a:ext cx="1" cy="648072"/>
          </a:xfrm>
          <a:prstGeom prst="line">
            <a:avLst/>
          </a:prstGeom>
          <a:ln w="20941">
            <a:solidFill>
              <a:srgbClr val="004E6B"/>
            </a:solidFill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16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17535" y="264546"/>
            <a:ext cx="10226204" cy="36881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E6B"/>
                </a:solidFill>
              </a:defRPr>
            </a:lvl1pPr>
          </a:lstStyle>
          <a:p>
            <a:r>
              <a:rPr dirty="0" err="1"/>
              <a:t>Текст</a:t>
            </a:r>
            <a:r>
              <a:rPr dirty="0"/>
              <a:t> </a:t>
            </a:r>
            <a:r>
              <a:rPr dirty="0" err="1"/>
              <a:t>заголовка</a:t>
            </a:r>
            <a:endParaRPr dirty="0"/>
          </a:p>
        </p:txBody>
      </p:sp>
      <p:pic>
        <p:nvPicPr>
          <p:cNvPr id="163" name="fon-05.png" descr="fon-05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6624" y="6155641"/>
            <a:ext cx="10832542" cy="253406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C5D58D2-0CD4-D963-96FF-14E2F5697F0F}"/>
              </a:ext>
            </a:extLst>
          </p:cNvPr>
          <p:cNvSpPr/>
          <p:nvPr userDrawn="1"/>
        </p:nvSpPr>
        <p:spPr>
          <a:xfrm>
            <a:off x="641349" y="224668"/>
            <a:ext cx="95249" cy="432000"/>
          </a:xfrm>
          <a:prstGeom prst="rect">
            <a:avLst/>
          </a:prstGeom>
          <a:solidFill>
            <a:srgbClr val="004E6B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80882152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Обложка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bk object 73"/>
          <p:cNvSpPr/>
          <p:nvPr/>
        </p:nvSpPr>
        <p:spPr>
          <a:xfrm>
            <a:off x="4071923" y="2532733"/>
            <a:ext cx="76201" cy="616252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53" name="bk object 74"/>
          <p:cNvSpPr/>
          <p:nvPr/>
        </p:nvSpPr>
        <p:spPr>
          <a:xfrm>
            <a:off x="4148123" y="2367551"/>
            <a:ext cx="1" cy="1099091"/>
          </a:xfrm>
          <a:prstGeom prst="line">
            <a:avLst/>
          </a:prstGeom>
          <a:ln w="11740">
            <a:solidFill>
              <a:srgbClr val="004E6B"/>
            </a:solidFill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5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15298" y="2472143"/>
            <a:ext cx="4456775" cy="7376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E6B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55" name="bk object 17"/>
          <p:cNvSpPr/>
          <p:nvPr/>
        </p:nvSpPr>
        <p:spPr>
          <a:xfrm>
            <a:off x="10154112" y="6034557"/>
            <a:ext cx="64928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56" name="bk object 18"/>
          <p:cNvSpPr/>
          <p:nvPr/>
        </p:nvSpPr>
        <p:spPr>
          <a:xfrm>
            <a:off x="10348905" y="6034557"/>
            <a:ext cx="64928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57" name="bk object 19"/>
          <p:cNvSpPr/>
          <p:nvPr/>
        </p:nvSpPr>
        <p:spPr>
          <a:xfrm>
            <a:off x="10543685" y="6034557"/>
            <a:ext cx="64935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58" name="bk object 20"/>
          <p:cNvSpPr/>
          <p:nvPr/>
        </p:nvSpPr>
        <p:spPr>
          <a:xfrm>
            <a:off x="10738484" y="6034557"/>
            <a:ext cx="64928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59" name="bk object 21"/>
          <p:cNvSpPr/>
          <p:nvPr/>
        </p:nvSpPr>
        <p:spPr>
          <a:xfrm>
            <a:off x="10933270" y="5969596"/>
            <a:ext cx="64928" cy="194934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60" name="bk object 22"/>
          <p:cNvSpPr/>
          <p:nvPr/>
        </p:nvSpPr>
        <p:spPr>
          <a:xfrm>
            <a:off x="7037476" y="5969596"/>
            <a:ext cx="64928" cy="194934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61" name="bk object 23"/>
          <p:cNvSpPr/>
          <p:nvPr/>
        </p:nvSpPr>
        <p:spPr>
          <a:xfrm>
            <a:off x="7232268" y="6034557"/>
            <a:ext cx="64928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62" name="bk object 24"/>
          <p:cNvSpPr/>
          <p:nvPr/>
        </p:nvSpPr>
        <p:spPr>
          <a:xfrm>
            <a:off x="7427054" y="6034557"/>
            <a:ext cx="64928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63" name="bk object 25"/>
          <p:cNvSpPr/>
          <p:nvPr/>
        </p:nvSpPr>
        <p:spPr>
          <a:xfrm>
            <a:off x="7621841" y="6034557"/>
            <a:ext cx="64935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64" name="bk object 26"/>
          <p:cNvSpPr/>
          <p:nvPr/>
        </p:nvSpPr>
        <p:spPr>
          <a:xfrm>
            <a:off x="7816627" y="6034557"/>
            <a:ext cx="64935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65" name="bk object 27"/>
          <p:cNvSpPr/>
          <p:nvPr/>
        </p:nvSpPr>
        <p:spPr>
          <a:xfrm>
            <a:off x="8011426" y="5969596"/>
            <a:ext cx="64928" cy="194934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66" name="bk object 28"/>
          <p:cNvSpPr/>
          <p:nvPr/>
        </p:nvSpPr>
        <p:spPr>
          <a:xfrm>
            <a:off x="6063532" y="5969596"/>
            <a:ext cx="64928" cy="194934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67" name="bk object 29"/>
          <p:cNvSpPr/>
          <p:nvPr/>
        </p:nvSpPr>
        <p:spPr>
          <a:xfrm>
            <a:off x="6258318" y="6034557"/>
            <a:ext cx="64935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68" name="bk object 30"/>
          <p:cNvSpPr/>
          <p:nvPr/>
        </p:nvSpPr>
        <p:spPr>
          <a:xfrm>
            <a:off x="6453104" y="6034557"/>
            <a:ext cx="64935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69" name="bk object 31"/>
          <p:cNvSpPr/>
          <p:nvPr/>
        </p:nvSpPr>
        <p:spPr>
          <a:xfrm>
            <a:off x="6647903" y="6034557"/>
            <a:ext cx="64928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70" name="bk object 32"/>
          <p:cNvSpPr/>
          <p:nvPr/>
        </p:nvSpPr>
        <p:spPr>
          <a:xfrm>
            <a:off x="6842689" y="6034557"/>
            <a:ext cx="64928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71" name="bk object 33"/>
          <p:cNvSpPr/>
          <p:nvPr/>
        </p:nvSpPr>
        <p:spPr>
          <a:xfrm>
            <a:off x="5089575" y="5969596"/>
            <a:ext cx="64928" cy="194934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72" name="bk object 34"/>
          <p:cNvSpPr/>
          <p:nvPr/>
        </p:nvSpPr>
        <p:spPr>
          <a:xfrm>
            <a:off x="5284375" y="6034557"/>
            <a:ext cx="64935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73" name="bk object 35"/>
          <p:cNvSpPr/>
          <p:nvPr/>
        </p:nvSpPr>
        <p:spPr>
          <a:xfrm>
            <a:off x="5479161" y="6034557"/>
            <a:ext cx="64935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74" name="bk object 36"/>
          <p:cNvSpPr/>
          <p:nvPr/>
        </p:nvSpPr>
        <p:spPr>
          <a:xfrm>
            <a:off x="5673934" y="6034557"/>
            <a:ext cx="64935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75" name="bk object 37"/>
          <p:cNvSpPr/>
          <p:nvPr/>
        </p:nvSpPr>
        <p:spPr>
          <a:xfrm>
            <a:off x="5868746" y="6034557"/>
            <a:ext cx="64928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76" name="bk object 38"/>
          <p:cNvSpPr/>
          <p:nvPr/>
        </p:nvSpPr>
        <p:spPr>
          <a:xfrm>
            <a:off x="4115632" y="5969596"/>
            <a:ext cx="64928" cy="194934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77" name="bk object 39"/>
          <p:cNvSpPr/>
          <p:nvPr/>
        </p:nvSpPr>
        <p:spPr>
          <a:xfrm>
            <a:off x="4310418" y="6034557"/>
            <a:ext cx="64928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78" name="bk object 40"/>
          <p:cNvSpPr/>
          <p:nvPr/>
        </p:nvSpPr>
        <p:spPr>
          <a:xfrm>
            <a:off x="4505204" y="6034557"/>
            <a:ext cx="64935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79" name="bk object 41"/>
          <p:cNvSpPr/>
          <p:nvPr/>
        </p:nvSpPr>
        <p:spPr>
          <a:xfrm>
            <a:off x="4699990" y="6034557"/>
            <a:ext cx="64935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80" name="bk object 42"/>
          <p:cNvSpPr/>
          <p:nvPr/>
        </p:nvSpPr>
        <p:spPr>
          <a:xfrm>
            <a:off x="4894789" y="6034557"/>
            <a:ext cx="64928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81" name="bk object 43"/>
          <p:cNvSpPr/>
          <p:nvPr/>
        </p:nvSpPr>
        <p:spPr>
          <a:xfrm>
            <a:off x="3141688" y="5969596"/>
            <a:ext cx="64929" cy="194934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82" name="bk object 44"/>
          <p:cNvSpPr/>
          <p:nvPr/>
        </p:nvSpPr>
        <p:spPr>
          <a:xfrm>
            <a:off x="3336474" y="6034557"/>
            <a:ext cx="64929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83" name="bk object 45"/>
          <p:cNvSpPr/>
          <p:nvPr/>
        </p:nvSpPr>
        <p:spPr>
          <a:xfrm>
            <a:off x="3531260" y="6034557"/>
            <a:ext cx="64936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84" name="bk object 46"/>
          <p:cNvSpPr/>
          <p:nvPr/>
        </p:nvSpPr>
        <p:spPr>
          <a:xfrm>
            <a:off x="3726053" y="6034557"/>
            <a:ext cx="64929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85" name="bk object 47"/>
          <p:cNvSpPr/>
          <p:nvPr/>
        </p:nvSpPr>
        <p:spPr>
          <a:xfrm>
            <a:off x="3920846" y="6034557"/>
            <a:ext cx="64928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86" name="bk object 48"/>
          <p:cNvSpPr/>
          <p:nvPr/>
        </p:nvSpPr>
        <p:spPr>
          <a:xfrm>
            <a:off x="2167744" y="5969596"/>
            <a:ext cx="64929" cy="194934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87" name="bk object 49"/>
          <p:cNvSpPr/>
          <p:nvPr/>
        </p:nvSpPr>
        <p:spPr>
          <a:xfrm>
            <a:off x="2362530" y="6034557"/>
            <a:ext cx="64929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88" name="bk object 50"/>
          <p:cNvSpPr/>
          <p:nvPr/>
        </p:nvSpPr>
        <p:spPr>
          <a:xfrm>
            <a:off x="2557316" y="6034557"/>
            <a:ext cx="64936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89" name="bk object 51"/>
          <p:cNvSpPr/>
          <p:nvPr/>
        </p:nvSpPr>
        <p:spPr>
          <a:xfrm>
            <a:off x="2752109" y="6034557"/>
            <a:ext cx="64929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90" name="bk object 52"/>
          <p:cNvSpPr/>
          <p:nvPr/>
        </p:nvSpPr>
        <p:spPr>
          <a:xfrm>
            <a:off x="2946902" y="6034557"/>
            <a:ext cx="64929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91" name="bk object 53"/>
          <p:cNvSpPr/>
          <p:nvPr/>
        </p:nvSpPr>
        <p:spPr>
          <a:xfrm>
            <a:off x="1193800" y="5969596"/>
            <a:ext cx="64929" cy="194934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92" name="bk object 54"/>
          <p:cNvSpPr/>
          <p:nvPr/>
        </p:nvSpPr>
        <p:spPr>
          <a:xfrm>
            <a:off x="1388573" y="6034557"/>
            <a:ext cx="64929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93" name="bk object 55"/>
          <p:cNvSpPr/>
          <p:nvPr/>
        </p:nvSpPr>
        <p:spPr>
          <a:xfrm>
            <a:off x="1583360" y="6034557"/>
            <a:ext cx="64929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94" name="bk object 56"/>
          <p:cNvSpPr/>
          <p:nvPr/>
        </p:nvSpPr>
        <p:spPr>
          <a:xfrm>
            <a:off x="1778165" y="6034557"/>
            <a:ext cx="64929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95" name="bk object 57"/>
          <p:cNvSpPr/>
          <p:nvPr/>
        </p:nvSpPr>
        <p:spPr>
          <a:xfrm>
            <a:off x="1972958" y="6034557"/>
            <a:ext cx="64929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96" name="bk object 58"/>
          <p:cNvSpPr/>
          <p:nvPr/>
        </p:nvSpPr>
        <p:spPr>
          <a:xfrm>
            <a:off x="8206212" y="6034557"/>
            <a:ext cx="64928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97" name="bk object 59"/>
          <p:cNvSpPr/>
          <p:nvPr/>
        </p:nvSpPr>
        <p:spPr>
          <a:xfrm>
            <a:off x="8400998" y="6034557"/>
            <a:ext cx="64928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98" name="bk object 60"/>
          <p:cNvSpPr/>
          <p:nvPr/>
        </p:nvSpPr>
        <p:spPr>
          <a:xfrm>
            <a:off x="8595791" y="6034557"/>
            <a:ext cx="64928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299" name="bk object 61"/>
          <p:cNvSpPr/>
          <p:nvPr/>
        </p:nvSpPr>
        <p:spPr>
          <a:xfrm>
            <a:off x="8790570" y="6034557"/>
            <a:ext cx="64935" cy="12997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300" name="Rectangle 139"/>
          <p:cNvSpPr/>
          <p:nvPr/>
        </p:nvSpPr>
        <p:spPr>
          <a:xfrm>
            <a:off x="8972072" y="5709284"/>
            <a:ext cx="66642" cy="455266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301" name="Rectangle 140"/>
          <p:cNvSpPr/>
          <p:nvPr/>
        </p:nvSpPr>
        <p:spPr>
          <a:xfrm>
            <a:off x="9167832" y="6035366"/>
            <a:ext cx="64560" cy="12918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302" name="Rectangle 141"/>
          <p:cNvSpPr/>
          <p:nvPr/>
        </p:nvSpPr>
        <p:spPr>
          <a:xfrm>
            <a:off x="9361513" y="6035366"/>
            <a:ext cx="66642" cy="12918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303" name="Rectangle 142"/>
          <p:cNvSpPr/>
          <p:nvPr/>
        </p:nvSpPr>
        <p:spPr>
          <a:xfrm>
            <a:off x="9557273" y="6035366"/>
            <a:ext cx="64560" cy="12918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304" name="Rectangle 143"/>
          <p:cNvSpPr/>
          <p:nvPr/>
        </p:nvSpPr>
        <p:spPr>
          <a:xfrm>
            <a:off x="9753035" y="6035366"/>
            <a:ext cx="64560" cy="129183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305" name="Freeform 144"/>
          <p:cNvSpPr/>
          <p:nvPr/>
        </p:nvSpPr>
        <p:spPr>
          <a:xfrm>
            <a:off x="9686392" y="5709284"/>
            <a:ext cx="195762" cy="2614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0"/>
                </a:lnTo>
                <a:lnTo>
                  <a:pt x="0" y="5335"/>
                </a:lnTo>
                <a:lnTo>
                  <a:pt x="7353" y="5335"/>
                </a:lnTo>
                <a:lnTo>
                  <a:pt x="7353" y="21600"/>
                </a:lnTo>
                <a:lnTo>
                  <a:pt x="14477" y="21600"/>
                </a:lnTo>
                <a:lnTo>
                  <a:pt x="14477" y="5335"/>
                </a:lnTo>
                <a:lnTo>
                  <a:pt x="21600" y="5335"/>
                </a:lnTo>
                <a:lnTo>
                  <a:pt x="21600" y="0"/>
                </a:lnTo>
                <a:close/>
              </a:path>
            </a:pathLst>
          </a:cu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306" name="Rectangle 145"/>
          <p:cNvSpPr/>
          <p:nvPr/>
        </p:nvSpPr>
        <p:spPr>
          <a:xfrm>
            <a:off x="9946713" y="5709284"/>
            <a:ext cx="64560" cy="455266"/>
          </a:xfrm>
          <a:prstGeom prst="rect">
            <a:avLst/>
          </a:pr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307" name="Freeform 146"/>
          <p:cNvSpPr/>
          <p:nvPr/>
        </p:nvSpPr>
        <p:spPr>
          <a:xfrm>
            <a:off x="9167833" y="5709284"/>
            <a:ext cx="193679" cy="2614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916" y="10671"/>
                </a:moveTo>
                <a:lnTo>
                  <a:pt x="7200" y="10671"/>
                </a:lnTo>
                <a:lnTo>
                  <a:pt x="7200" y="5335"/>
                </a:lnTo>
                <a:lnTo>
                  <a:pt x="11613" y="5335"/>
                </a:lnTo>
                <a:lnTo>
                  <a:pt x="12310" y="5508"/>
                </a:lnTo>
                <a:lnTo>
                  <a:pt x="13471" y="6196"/>
                </a:lnTo>
                <a:lnTo>
                  <a:pt x="14168" y="7057"/>
                </a:lnTo>
                <a:lnTo>
                  <a:pt x="14400" y="7401"/>
                </a:lnTo>
                <a:lnTo>
                  <a:pt x="14400" y="8606"/>
                </a:lnTo>
                <a:lnTo>
                  <a:pt x="14168" y="9122"/>
                </a:lnTo>
                <a:lnTo>
                  <a:pt x="13471" y="9982"/>
                </a:lnTo>
                <a:lnTo>
                  <a:pt x="12310" y="10499"/>
                </a:lnTo>
                <a:lnTo>
                  <a:pt x="11613" y="10671"/>
                </a:lnTo>
                <a:lnTo>
                  <a:pt x="10916" y="10671"/>
                </a:lnTo>
                <a:close/>
                <a:moveTo>
                  <a:pt x="10916" y="0"/>
                </a:moveTo>
                <a:lnTo>
                  <a:pt x="0" y="0"/>
                </a:lnTo>
                <a:lnTo>
                  <a:pt x="0" y="21600"/>
                </a:lnTo>
                <a:lnTo>
                  <a:pt x="7200" y="21600"/>
                </a:lnTo>
                <a:lnTo>
                  <a:pt x="7200" y="16006"/>
                </a:lnTo>
                <a:lnTo>
                  <a:pt x="10916" y="16006"/>
                </a:lnTo>
                <a:lnTo>
                  <a:pt x="13006" y="15834"/>
                </a:lnTo>
                <a:lnTo>
                  <a:pt x="15097" y="15490"/>
                </a:lnTo>
                <a:lnTo>
                  <a:pt x="16955" y="14629"/>
                </a:lnTo>
                <a:lnTo>
                  <a:pt x="18581" y="13769"/>
                </a:lnTo>
                <a:lnTo>
                  <a:pt x="19974" y="12564"/>
                </a:lnTo>
                <a:lnTo>
                  <a:pt x="20903" y="11187"/>
                </a:lnTo>
                <a:lnTo>
                  <a:pt x="21600" y="9638"/>
                </a:lnTo>
                <a:lnTo>
                  <a:pt x="21600" y="6368"/>
                </a:lnTo>
                <a:lnTo>
                  <a:pt x="20903" y="4819"/>
                </a:lnTo>
                <a:lnTo>
                  <a:pt x="19974" y="3614"/>
                </a:lnTo>
                <a:lnTo>
                  <a:pt x="18581" y="2410"/>
                </a:lnTo>
                <a:lnTo>
                  <a:pt x="16955" y="1377"/>
                </a:lnTo>
                <a:lnTo>
                  <a:pt x="15097" y="688"/>
                </a:lnTo>
                <a:lnTo>
                  <a:pt x="13006" y="172"/>
                </a:lnTo>
                <a:lnTo>
                  <a:pt x="10916" y="0"/>
                </a:lnTo>
                <a:close/>
              </a:path>
            </a:pathLst>
          </a:cu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sp>
        <p:nvSpPr>
          <p:cNvPr id="308" name="Freeform 149"/>
          <p:cNvSpPr/>
          <p:nvPr/>
        </p:nvSpPr>
        <p:spPr>
          <a:xfrm>
            <a:off x="9409411" y="5707200"/>
            <a:ext cx="222835" cy="2635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516" y="21600"/>
                </a:moveTo>
                <a:lnTo>
                  <a:pt x="10093" y="21429"/>
                </a:lnTo>
                <a:lnTo>
                  <a:pt x="7873" y="20746"/>
                </a:lnTo>
                <a:lnTo>
                  <a:pt x="6662" y="20405"/>
                </a:lnTo>
                <a:lnTo>
                  <a:pt x="5652" y="19892"/>
                </a:lnTo>
                <a:lnTo>
                  <a:pt x="4643" y="19124"/>
                </a:lnTo>
                <a:lnTo>
                  <a:pt x="2826" y="17587"/>
                </a:lnTo>
                <a:lnTo>
                  <a:pt x="2019" y="16734"/>
                </a:lnTo>
                <a:lnTo>
                  <a:pt x="1413" y="15880"/>
                </a:lnTo>
                <a:lnTo>
                  <a:pt x="807" y="14855"/>
                </a:lnTo>
                <a:lnTo>
                  <a:pt x="404" y="13831"/>
                </a:lnTo>
                <a:lnTo>
                  <a:pt x="0" y="11782"/>
                </a:lnTo>
                <a:lnTo>
                  <a:pt x="0" y="9733"/>
                </a:lnTo>
                <a:lnTo>
                  <a:pt x="404" y="7684"/>
                </a:lnTo>
                <a:lnTo>
                  <a:pt x="807" y="6659"/>
                </a:lnTo>
                <a:lnTo>
                  <a:pt x="1413" y="5635"/>
                </a:lnTo>
                <a:lnTo>
                  <a:pt x="2019" y="4781"/>
                </a:lnTo>
                <a:lnTo>
                  <a:pt x="2826" y="3927"/>
                </a:lnTo>
                <a:lnTo>
                  <a:pt x="4643" y="2391"/>
                </a:lnTo>
                <a:lnTo>
                  <a:pt x="5652" y="1878"/>
                </a:lnTo>
                <a:lnTo>
                  <a:pt x="6662" y="1195"/>
                </a:lnTo>
                <a:lnTo>
                  <a:pt x="7873" y="854"/>
                </a:lnTo>
                <a:lnTo>
                  <a:pt x="10093" y="171"/>
                </a:lnTo>
                <a:lnTo>
                  <a:pt x="12516" y="0"/>
                </a:lnTo>
                <a:lnTo>
                  <a:pt x="14938" y="171"/>
                </a:lnTo>
                <a:lnTo>
                  <a:pt x="18572" y="1195"/>
                </a:lnTo>
                <a:lnTo>
                  <a:pt x="19581" y="1878"/>
                </a:lnTo>
                <a:lnTo>
                  <a:pt x="20591" y="2391"/>
                </a:lnTo>
                <a:lnTo>
                  <a:pt x="21600" y="3244"/>
                </a:lnTo>
                <a:lnTo>
                  <a:pt x="17159" y="7001"/>
                </a:lnTo>
                <a:lnTo>
                  <a:pt x="16150" y="6318"/>
                </a:lnTo>
                <a:lnTo>
                  <a:pt x="14938" y="5806"/>
                </a:lnTo>
                <a:lnTo>
                  <a:pt x="13727" y="5464"/>
                </a:lnTo>
                <a:lnTo>
                  <a:pt x="12516" y="5293"/>
                </a:lnTo>
                <a:lnTo>
                  <a:pt x="11305" y="5464"/>
                </a:lnTo>
                <a:lnTo>
                  <a:pt x="10093" y="5806"/>
                </a:lnTo>
                <a:lnTo>
                  <a:pt x="9084" y="6318"/>
                </a:lnTo>
                <a:lnTo>
                  <a:pt x="8075" y="7001"/>
                </a:lnTo>
                <a:lnTo>
                  <a:pt x="7267" y="7855"/>
                </a:lnTo>
                <a:lnTo>
                  <a:pt x="6662" y="8708"/>
                </a:lnTo>
                <a:lnTo>
                  <a:pt x="6258" y="9733"/>
                </a:lnTo>
                <a:lnTo>
                  <a:pt x="6258" y="11782"/>
                </a:lnTo>
                <a:lnTo>
                  <a:pt x="6662" y="12806"/>
                </a:lnTo>
                <a:lnTo>
                  <a:pt x="7267" y="13831"/>
                </a:lnTo>
                <a:lnTo>
                  <a:pt x="8075" y="14514"/>
                </a:lnTo>
                <a:lnTo>
                  <a:pt x="9084" y="15197"/>
                </a:lnTo>
                <a:lnTo>
                  <a:pt x="10093" y="15709"/>
                </a:lnTo>
                <a:lnTo>
                  <a:pt x="11305" y="16051"/>
                </a:lnTo>
                <a:lnTo>
                  <a:pt x="12516" y="16221"/>
                </a:lnTo>
                <a:lnTo>
                  <a:pt x="13727" y="16051"/>
                </a:lnTo>
                <a:lnTo>
                  <a:pt x="14938" y="15709"/>
                </a:lnTo>
                <a:lnTo>
                  <a:pt x="16150" y="15197"/>
                </a:lnTo>
                <a:lnTo>
                  <a:pt x="17159" y="14514"/>
                </a:lnTo>
                <a:lnTo>
                  <a:pt x="21600" y="18270"/>
                </a:lnTo>
                <a:lnTo>
                  <a:pt x="20591" y="19124"/>
                </a:lnTo>
                <a:lnTo>
                  <a:pt x="19581" y="19892"/>
                </a:lnTo>
                <a:lnTo>
                  <a:pt x="18572" y="20405"/>
                </a:lnTo>
                <a:lnTo>
                  <a:pt x="14938" y="21429"/>
                </a:lnTo>
                <a:lnTo>
                  <a:pt x="12516" y="21600"/>
                </a:lnTo>
                <a:close/>
              </a:path>
            </a:pathLst>
          </a:custGeom>
          <a:blipFill>
            <a:blip r:embed="rId2"/>
          </a:blip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pic>
        <p:nvPicPr>
          <p:cNvPr id="309" name="logo VNIIM_final-06.png" descr="logo VNIIM_final-06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0780" y="2394882"/>
            <a:ext cx="2907933" cy="892925"/>
          </a:xfrm>
          <a:prstGeom prst="rect">
            <a:avLst/>
          </a:prstGeom>
          <a:ln w="12700">
            <a:miter lim="400000"/>
          </a:ln>
        </p:spPr>
      </p:pic>
      <p:pic>
        <p:nvPicPr>
          <p:cNvPr id="310" name="fon.jpg" descr="fon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74023" y="6156939"/>
            <a:ext cx="12186010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31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570888" y="6356350"/>
            <a:ext cx="166712" cy="168059"/>
          </a:xfrm>
          <a:prstGeom prst="rect">
            <a:avLst/>
          </a:prstGeom>
        </p:spPr>
        <p:txBody>
          <a:bodyPr/>
          <a:lstStyle>
            <a:lvl1pPr indent="0">
              <a:defRPr sz="1092" spc="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54116586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Послед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8" name="fon.jpg" descr="fon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328" y="-357800"/>
            <a:ext cx="12241360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389" name="bk object 72"/>
          <p:cNvSpPr/>
          <p:nvPr/>
        </p:nvSpPr>
        <p:spPr>
          <a:xfrm>
            <a:off x="24679" y="6162528"/>
            <a:ext cx="12192001" cy="698843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grpSp>
        <p:nvGrpSpPr>
          <p:cNvPr id="392" name="Группа 67"/>
          <p:cNvGrpSpPr/>
          <p:nvPr/>
        </p:nvGrpSpPr>
        <p:grpSpPr>
          <a:xfrm>
            <a:off x="3487527" y="2288834"/>
            <a:ext cx="76201" cy="1099091"/>
            <a:chOff x="0" y="0"/>
            <a:chExt cx="125650" cy="1811463"/>
          </a:xfrm>
        </p:grpSpPr>
        <p:sp>
          <p:nvSpPr>
            <p:cNvPr id="390" name="bk object 73"/>
            <p:cNvSpPr/>
            <p:nvPr/>
          </p:nvSpPr>
          <p:spPr>
            <a:xfrm>
              <a:off x="0" y="272242"/>
              <a:ext cx="125651" cy="1015676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391" name="bk object 74"/>
            <p:cNvSpPr/>
            <p:nvPr/>
          </p:nvSpPr>
          <p:spPr>
            <a:xfrm flipH="1">
              <a:off x="125649" y="0"/>
              <a:ext cx="1" cy="1811464"/>
            </a:xfrm>
            <a:prstGeom prst="line">
              <a:avLst/>
            </a:prstGeom>
            <a:noFill/>
            <a:ln w="1174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</p:grpSp>
      <p:grpSp>
        <p:nvGrpSpPr>
          <p:cNvPr id="448" name="Группа 63"/>
          <p:cNvGrpSpPr/>
          <p:nvPr/>
        </p:nvGrpSpPr>
        <p:grpSpPr>
          <a:xfrm>
            <a:off x="1193800" y="5707200"/>
            <a:ext cx="9804399" cy="457349"/>
            <a:chOff x="0" y="0"/>
            <a:chExt cx="16167043" cy="753777"/>
          </a:xfrm>
        </p:grpSpPr>
        <p:sp>
          <p:nvSpPr>
            <p:cNvPr id="393" name="bk object 17"/>
            <p:cNvSpPr/>
            <p:nvPr/>
          </p:nvSpPr>
          <p:spPr>
            <a:xfrm>
              <a:off x="14775181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394" name="bk object 18"/>
            <p:cNvSpPr/>
            <p:nvPr/>
          </p:nvSpPr>
          <p:spPr>
            <a:xfrm>
              <a:off x="15096387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395" name="bk object 19"/>
            <p:cNvSpPr/>
            <p:nvPr/>
          </p:nvSpPr>
          <p:spPr>
            <a:xfrm>
              <a:off x="15417570" y="539533"/>
              <a:ext cx="10707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396" name="bk object 20"/>
            <p:cNvSpPr/>
            <p:nvPr/>
          </p:nvSpPr>
          <p:spPr>
            <a:xfrm>
              <a:off x="15738786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397" name="bk object 21"/>
            <p:cNvSpPr/>
            <p:nvPr/>
          </p:nvSpPr>
          <p:spPr>
            <a:xfrm>
              <a:off x="16059980" y="432467"/>
              <a:ext cx="107064" cy="321280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398" name="bk object 22"/>
            <p:cNvSpPr/>
            <p:nvPr/>
          </p:nvSpPr>
          <p:spPr>
            <a:xfrm>
              <a:off x="9635978" y="432467"/>
              <a:ext cx="107064" cy="321280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399" name="bk object 23"/>
            <p:cNvSpPr/>
            <p:nvPr/>
          </p:nvSpPr>
          <p:spPr>
            <a:xfrm>
              <a:off x="9957182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00" name="bk object 24"/>
            <p:cNvSpPr/>
            <p:nvPr/>
          </p:nvSpPr>
          <p:spPr>
            <a:xfrm>
              <a:off x="10278377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01" name="bk object 25"/>
            <p:cNvSpPr/>
            <p:nvPr/>
          </p:nvSpPr>
          <p:spPr>
            <a:xfrm>
              <a:off x="10599570" y="539533"/>
              <a:ext cx="10707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02" name="bk object 26"/>
            <p:cNvSpPr/>
            <p:nvPr/>
          </p:nvSpPr>
          <p:spPr>
            <a:xfrm>
              <a:off x="10920765" y="539533"/>
              <a:ext cx="10707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03" name="bk object 27"/>
            <p:cNvSpPr/>
            <p:nvPr/>
          </p:nvSpPr>
          <p:spPr>
            <a:xfrm>
              <a:off x="11241981" y="432467"/>
              <a:ext cx="107064" cy="321280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04" name="bk object 28"/>
            <p:cNvSpPr/>
            <p:nvPr/>
          </p:nvSpPr>
          <p:spPr>
            <a:xfrm>
              <a:off x="8029985" y="432467"/>
              <a:ext cx="107064" cy="321280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05" name="bk object 29"/>
            <p:cNvSpPr/>
            <p:nvPr/>
          </p:nvSpPr>
          <p:spPr>
            <a:xfrm>
              <a:off x="8351179" y="539533"/>
              <a:ext cx="10707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06" name="bk object 30"/>
            <p:cNvSpPr/>
            <p:nvPr/>
          </p:nvSpPr>
          <p:spPr>
            <a:xfrm>
              <a:off x="8672372" y="539533"/>
              <a:ext cx="10707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07" name="bk object 31"/>
            <p:cNvSpPr/>
            <p:nvPr/>
          </p:nvSpPr>
          <p:spPr>
            <a:xfrm>
              <a:off x="8993589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08" name="bk object 32"/>
            <p:cNvSpPr/>
            <p:nvPr/>
          </p:nvSpPr>
          <p:spPr>
            <a:xfrm>
              <a:off x="9314783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09" name="bk object 33"/>
            <p:cNvSpPr/>
            <p:nvPr/>
          </p:nvSpPr>
          <p:spPr>
            <a:xfrm>
              <a:off x="6423971" y="432467"/>
              <a:ext cx="107064" cy="321280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10" name="bk object 34"/>
            <p:cNvSpPr/>
            <p:nvPr/>
          </p:nvSpPr>
          <p:spPr>
            <a:xfrm>
              <a:off x="6745186" y="539533"/>
              <a:ext cx="10707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11" name="bk object 35"/>
            <p:cNvSpPr/>
            <p:nvPr/>
          </p:nvSpPr>
          <p:spPr>
            <a:xfrm>
              <a:off x="7066381" y="539533"/>
              <a:ext cx="10707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12" name="bk object 36"/>
            <p:cNvSpPr/>
            <p:nvPr/>
          </p:nvSpPr>
          <p:spPr>
            <a:xfrm>
              <a:off x="7387554" y="539533"/>
              <a:ext cx="10707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13" name="bk object 37"/>
            <p:cNvSpPr/>
            <p:nvPr/>
          </p:nvSpPr>
          <p:spPr>
            <a:xfrm>
              <a:off x="7708790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14" name="bk object 38"/>
            <p:cNvSpPr/>
            <p:nvPr/>
          </p:nvSpPr>
          <p:spPr>
            <a:xfrm>
              <a:off x="4817978" y="432467"/>
              <a:ext cx="107064" cy="321280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15" name="bk object 39"/>
            <p:cNvSpPr/>
            <p:nvPr/>
          </p:nvSpPr>
          <p:spPr>
            <a:xfrm>
              <a:off x="5139172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16" name="bk object 40"/>
            <p:cNvSpPr/>
            <p:nvPr/>
          </p:nvSpPr>
          <p:spPr>
            <a:xfrm>
              <a:off x="5460366" y="539533"/>
              <a:ext cx="10707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17" name="bk object 41"/>
            <p:cNvSpPr/>
            <p:nvPr/>
          </p:nvSpPr>
          <p:spPr>
            <a:xfrm>
              <a:off x="5781561" y="539533"/>
              <a:ext cx="10707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18" name="bk object 42"/>
            <p:cNvSpPr/>
            <p:nvPr/>
          </p:nvSpPr>
          <p:spPr>
            <a:xfrm>
              <a:off x="6102777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19" name="bk object 43"/>
            <p:cNvSpPr/>
            <p:nvPr/>
          </p:nvSpPr>
          <p:spPr>
            <a:xfrm>
              <a:off x="3211985" y="432467"/>
              <a:ext cx="107065" cy="321280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20" name="bk object 44"/>
            <p:cNvSpPr/>
            <p:nvPr/>
          </p:nvSpPr>
          <p:spPr>
            <a:xfrm>
              <a:off x="3533179" y="539533"/>
              <a:ext cx="10706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21" name="bk object 45"/>
            <p:cNvSpPr/>
            <p:nvPr/>
          </p:nvSpPr>
          <p:spPr>
            <a:xfrm>
              <a:off x="3854374" y="539533"/>
              <a:ext cx="107076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22" name="bk object 46"/>
            <p:cNvSpPr/>
            <p:nvPr/>
          </p:nvSpPr>
          <p:spPr>
            <a:xfrm>
              <a:off x="4175578" y="539533"/>
              <a:ext cx="10706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23" name="bk object 47"/>
            <p:cNvSpPr/>
            <p:nvPr/>
          </p:nvSpPr>
          <p:spPr>
            <a:xfrm>
              <a:off x="4496784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24" name="bk object 48"/>
            <p:cNvSpPr/>
            <p:nvPr/>
          </p:nvSpPr>
          <p:spPr>
            <a:xfrm>
              <a:off x="1605992" y="432467"/>
              <a:ext cx="107065" cy="321280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25" name="bk object 49"/>
            <p:cNvSpPr/>
            <p:nvPr/>
          </p:nvSpPr>
          <p:spPr>
            <a:xfrm>
              <a:off x="1927186" y="539533"/>
              <a:ext cx="10706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26" name="bk object 50"/>
            <p:cNvSpPr/>
            <p:nvPr/>
          </p:nvSpPr>
          <p:spPr>
            <a:xfrm>
              <a:off x="2248381" y="539533"/>
              <a:ext cx="107076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27" name="bk object 51"/>
            <p:cNvSpPr/>
            <p:nvPr/>
          </p:nvSpPr>
          <p:spPr>
            <a:xfrm>
              <a:off x="2569586" y="539533"/>
              <a:ext cx="10706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28" name="bk object 52"/>
            <p:cNvSpPr/>
            <p:nvPr/>
          </p:nvSpPr>
          <p:spPr>
            <a:xfrm>
              <a:off x="2890791" y="539533"/>
              <a:ext cx="10706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29" name="bk object 53"/>
            <p:cNvSpPr/>
            <p:nvPr/>
          </p:nvSpPr>
          <p:spPr>
            <a:xfrm>
              <a:off x="0" y="432467"/>
              <a:ext cx="107064" cy="321280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30" name="bk object 54"/>
            <p:cNvSpPr/>
            <p:nvPr/>
          </p:nvSpPr>
          <p:spPr>
            <a:xfrm>
              <a:off x="321172" y="539533"/>
              <a:ext cx="10706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31" name="bk object 55"/>
            <p:cNvSpPr/>
            <p:nvPr/>
          </p:nvSpPr>
          <p:spPr>
            <a:xfrm>
              <a:off x="642367" y="539533"/>
              <a:ext cx="10706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32" name="bk object 56"/>
            <p:cNvSpPr/>
            <p:nvPr/>
          </p:nvSpPr>
          <p:spPr>
            <a:xfrm>
              <a:off x="963593" y="539533"/>
              <a:ext cx="10706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33" name="bk object 57"/>
            <p:cNvSpPr/>
            <p:nvPr/>
          </p:nvSpPr>
          <p:spPr>
            <a:xfrm>
              <a:off x="1284798" y="539533"/>
              <a:ext cx="10706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34" name="bk object 58"/>
            <p:cNvSpPr/>
            <p:nvPr/>
          </p:nvSpPr>
          <p:spPr>
            <a:xfrm>
              <a:off x="11563174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35" name="bk object 59"/>
            <p:cNvSpPr/>
            <p:nvPr/>
          </p:nvSpPr>
          <p:spPr>
            <a:xfrm>
              <a:off x="11884369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36" name="bk object 60"/>
            <p:cNvSpPr/>
            <p:nvPr/>
          </p:nvSpPr>
          <p:spPr>
            <a:xfrm>
              <a:off x="12205575" y="539533"/>
              <a:ext cx="107064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37" name="bk object 61"/>
            <p:cNvSpPr/>
            <p:nvPr/>
          </p:nvSpPr>
          <p:spPr>
            <a:xfrm>
              <a:off x="12526757" y="539533"/>
              <a:ext cx="107075" cy="21421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grpSp>
          <p:nvGrpSpPr>
            <p:cNvPr id="447" name="Группа 111"/>
            <p:cNvGrpSpPr/>
            <p:nvPr/>
          </p:nvGrpSpPr>
          <p:grpSpPr>
            <a:xfrm>
              <a:off x="12826047" y="0"/>
              <a:ext cx="1713601" cy="753778"/>
              <a:chOff x="0" y="0"/>
              <a:chExt cx="1713599" cy="753777"/>
            </a:xfrm>
          </p:grpSpPr>
          <p:sp>
            <p:nvSpPr>
              <p:cNvPr id="438" name="Rectangle 139"/>
              <p:cNvSpPr/>
              <p:nvPr/>
            </p:nvSpPr>
            <p:spPr>
              <a:xfrm>
                <a:off x="-1" y="3434"/>
                <a:ext cx="109891" cy="75034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439" name="Rectangle 140"/>
              <p:cNvSpPr/>
              <p:nvPr/>
            </p:nvSpPr>
            <p:spPr>
              <a:xfrm>
                <a:off x="322802" y="540865"/>
                <a:ext cx="106457" cy="212913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440" name="Rectangle 141"/>
              <p:cNvSpPr/>
              <p:nvPr/>
            </p:nvSpPr>
            <p:spPr>
              <a:xfrm>
                <a:off x="642170" y="540865"/>
                <a:ext cx="109891" cy="212913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441" name="Rectangle 142"/>
              <p:cNvSpPr/>
              <p:nvPr/>
            </p:nvSpPr>
            <p:spPr>
              <a:xfrm>
                <a:off x="964973" y="540865"/>
                <a:ext cx="106457" cy="212913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442" name="Rectangle 143"/>
              <p:cNvSpPr/>
              <p:nvPr/>
            </p:nvSpPr>
            <p:spPr>
              <a:xfrm>
                <a:off x="1287775" y="540865"/>
                <a:ext cx="106457" cy="212913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443" name="Freeform 144"/>
              <p:cNvSpPr/>
              <p:nvPr/>
            </p:nvSpPr>
            <p:spPr>
              <a:xfrm>
                <a:off x="1177885" y="3434"/>
                <a:ext cx="322803" cy="43097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0" y="0"/>
                    </a:lnTo>
                    <a:lnTo>
                      <a:pt x="0" y="5335"/>
                    </a:lnTo>
                    <a:lnTo>
                      <a:pt x="7353" y="5335"/>
                    </a:lnTo>
                    <a:lnTo>
                      <a:pt x="7353" y="21600"/>
                    </a:lnTo>
                    <a:lnTo>
                      <a:pt x="14477" y="21600"/>
                    </a:lnTo>
                    <a:lnTo>
                      <a:pt x="14477" y="5335"/>
                    </a:lnTo>
                    <a:lnTo>
                      <a:pt x="21600" y="5335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444" name="Rectangle 145"/>
              <p:cNvSpPr/>
              <p:nvPr/>
            </p:nvSpPr>
            <p:spPr>
              <a:xfrm>
                <a:off x="1607143" y="3434"/>
                <a:ext cx="106457" cy="75034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445" name="Freeform 146"/>
              <p:cNvSpPr/>
              <p:nvPr/>
            </p:nvSpPr>
            <p:spPr>
              <a:xfrm>
                <a:off x="322802" y="3434"/>
                <a:ext cx="319369" cy="43097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916" y="10671"/>
                    </a:moveTo>
                    <a:lnTo>
                      <a:pt x="7200" y="10671"/>
                    </a:lnTo>
                    <a:lnTo>
                      <a:pt x="7200" y="5335"/>
                    </a:lnTo>
                    <a:lnTo>
                      <a:pt x="11613" y="5335"/>
                    </a:lnTo>
                    <a:lnTo>
                      <a:pt x="12310" y="5508"/>
                    </a:lnTo>
                    <a:lnTo>
                      <a:pt x="13471" y="6196"/>
                    </a:lnTo>
                    <a:lnTo>
                      <a:pt x="14168" y="7057"/>
                    </a:lnTo>
                    <a:lnTo>
                      <a:pt x="14400" y="7401"/>
                    </a:lnTo>
                    <a:lnTo>
                      <a:pt x="14400" y="8606"/>
                    </a:lnTo>
                    <a:lnTo>
                      <a:pt x="14168" y="9122"/>
                    </a:lnTo>
                    <a:lnTo>
                      <a:pt x="13471" y="9982"/>
                    </a:lnTo>
                    <a:lnTo>
                      <a:pt x="12310" y="10499"/>
                    </a:lnTo>
                    <a:lnTo>
                      <a:pt x="11613" y="10671"/>
                    </a:lnTo>
                    <a:lnTo>
                      <a:pt x="10916" y="10671"/>
                    </a:lnTo>
                    <a:close/>
                    <a:moveTo>
                      <a:pt x="10916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7200" y="21600"/>
                    </a:lnTo>
                    <a:lnTo>
                      <a:pt x="7200" y="16006"/>
                    </a:lnTo>
                    <a:lnTo>
                      <a:pt x="10916" y="16006"/>
                    </a:lnTo>
                    <a:lnTo>
                      <a:pt x="13006" y="15834"/>
                    </a:lnTo>
                    <a:lnTo>
                      <a:pt x="15097" y="15490"/>
                    </a:lnTo>
                    <a:lnTo>
                      <a:pt x="16955" y="14629"/>
                    </a:lnTo>
                    <a:lnTo>
                      <a:pt x="18581" y="13769"/>
                    </a:lnTo>
                    <a:lnTo>
                      <a:pt x="19974" y="12564"/>
                    </a:lnTo>
                    <a:lnTo>
                      <a:pt x="20903" y="11187"/>
                    </a:lnTo>
                    <a:lnTo>
                      <a:pt x="21600" y="9638"/>
                    </a:lnTo>
                    <a:lnTo>
                      <a:pt x="21600" y="6368"/>
                    </a:lnTo>
                    <a:lnTo>
                      <a:pt x="20903" y="4819"/>
                    </a:lnTo>
                    <a:lnTo>
                      <a:pt x="19974" y="3614"/>
                    </a:lnTo>
                    <a:lnTo>
                      <a:pt x="18581" y="2410"/>
                    </a:lnTo>
                    <a:lnTo>
                      <a:pt x="16955" y="1377"/>
                    </a:lnTo>
                    <a:lnTo>
                      <a:pt x="15097" y="688"/>
                    </a:lnTo>
                    <a:lnTo>
                      <a:pt x="13006" y="172"/>
                    </a:lnTo>
                    <a:lnTo>
                      <a:pt x="10916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446" name="Freeform 149"/>
              <p:cNvSpPr/>
              <p:nvPr/>
            </p:nvSpPr>
            <p:spPr>
              <a:xfrm>
                <a:off x="721154" y="0"/>
                <a:ext cx="367446" cy="4344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516" y="21600"/>
                    </a:moveTo>
                    <a:lnTo>
                      <a:pt x="10093" y="21429"/>
                    </a:lnTo>
                    <a:lnTo>
                      <a:pt x="7873" y="20746"/>
                    </a:lnTo>
                    <a:lnTo>
                      <a:pt x="6662" y="20405"/>
                    </a:lnTo>
                    <a:lnTo>
                      <a:pt x="5652" y="19892"/>
                    </a:lnTo>
                    <a:lnTo>
                      <a:pt x="4643" y="19124"/>
                    </a:lnTo>
                    <a:lnTo>
                      <a:pt x="2826" y="17587"/>
                    </a:lnTo>
                    <a:lnTo>
                      <a:pt x="2019" y="16734"/>
                    </a:lnTo>
                    <a:lnTo>
                      <a:pt x="1413" y="15880"/>
                    </a:lnTo>
                    <a:lnTo>
                      <a:pt x="807" y="14855"/>
                    </a:lnTo>
                    <a:lnTo>
                      <a:pt x="404" y="13831"/>
                    </a:lnTo>
                    <a:lnTo>
                      <a:pt x="0" y="11782"/>
                    </a:lnTo>
                    <a:lnTo>
                      <a:pt x="0" y="9733"/>
                    </a:lnTo>
                    <a:lnTo>
                      <a:pt x="404" y="7684"/>
                    </a:lnTo>
                    <a:lnTo>
                      <a:pt x="807" y="6659"/>
                    </a:lnTo>
                    <a:lnTo>
                      <a:pt x="1413" y="5635"/>
                    </a:lnTo>
                    <a:lnTo>
                      <a:pt x="2019" y="4781"/>
                    </a:lnTo>
                    <a:lnTo>
                      <a:pt x="2826" y="3927"/>
                    </a:lnTo>
                    <a:lnTo>
                      <a:pt x="4643" y="2391"/>
                    </a:lnTo>
                    <a:lnTo>
                      <a:pt x="5652" y="1878"/>
                    </a:lnTo>
                    <a:lnTo>
                      <a:pt x="6662" y="1195"/>
                    </a:lnTo>
                    <a:lnTo>
                      <a:pt x="7873" y="854"/>
                    </a:lnTo>
                    <a:lnTo>
                      <a:pt x="10093" y="171"/>
                    </a:lnTo>
                    <a:lnTo>
                      <a:pt x="12516" y="0"/>
                    </a:lnTo>
                    <a:lnTo>
                      <a:pt x="14938" y="171"/>
                    </a:lnTo>
                    <a:lnTo>
                      <a:pt x="18572" y="1195"/>
                    </a:lnTo>
                    <a:lnTo>
                      <a:pt x="19581" y="1878"/>
                    </a:lnTo>
                    <a:lnTo>
                      <a:pt x="20591" y="2391"/>
                    </a:lnTo>
                    <a:lnTo>
                      <a:pt x="21600" y="3244"/>
                    </a:lnTo>
                    <a:lnTo>
                      <a:pt x="17159" y="7001"/>
                    </a:lnTo>
                    <a:lnTo>
                      <a:pt x="16150" y="6318"/>
                    </a:lnTo>
                    <a:lnTo>
                      <a:pt x="14938" y="5806"/>
                    </a:lnTo>
                    <a:lnTo>
                      <a:pt x="13727" y="5464"/>
                    </a:lnTo>
                    <a:lnTo>
                      <a:pt x="12516" y="5293"/>
                    </a:lnTo>
                    <a:lnTo>
                      <a:pt x="11305" y="5464"/>
                    </a:lnTo>
                    <a:lnTo>
                      <a:pt x="10093" y="5806"/>
                    </a:lnTo>
                    <a:lnTo>
                      <a:pt x="9084" y="6318"/>
                    </a:lnTo>
                    <a:lnTo>
                      <a:pt x="8075" y="7001"/>
                    </a:lnTo>
                    <a:lnTo>
                      <a:pt x="7267" y="7855"/>
                    </a:lnTo>
                    <a:lnTo>
                      <a:pt x="6662" y="8708"/>
                    </a:lnTo>
                    <a:lnTo>
                      <a:pt x="6258" y="9733"/>
                    </a:lnTo>
                    <a:lnTo>
                      <a:pt x="6258" y="11782"/>
                    </a:lnTo>
                    <a:lnTo>
                      <a:pt x="6662" y="12806"/>
                    </a:lnTo>
                    <a:lnTo>
                      <a:pt x="7267" y="13831"/>
                    </a:lnTo>
                    <a:lnTo>
                      <a:pt x="8075" y="14514"/>
                    </a:lnTo>
                    <a:lnTo>
                      <a:pt x="9084" y="15197"/>
                    </a:lnTo>
                    <a:lnTo>
                      <a:pt x="10093" y="15709"/>
                    </a:lnTo>
                    <a:lnTo>
                      <a:pt x="11305" y="16051"/>
                    </a:lnTo>
                    <a:lnTo>
                      <a:pt x="12516" y="16221"/>
                    </a:lnTo>
                    <a:lnTo>
                      <a:pt x="13727" y="16051"/>
                    </a:lnTo>
                    <a:lnTo>
                      <a:pt x="14938" y="15709"/>
                    </a:lnTo>
                    <a:lnTo>
                      <a:pt x="16150" y="15197"/>
                    </a:lnTo>
                    <a:lnTo>
                      <a:pt x="17159" y="14514"/>
                    </a:lnTo>
                    <a:lnTo>
                      <a:pt x="21600" y="18270"/>
                    </a:lnTo>
                    <a:lnTo>
                      <a:pt x="20591" y="19124"/>
                    </a:lnTo>
                    <a:lnTo>
                      <a:pt x="19581" y="19892"/>
                    </a:lnTo>
                    <a:lnTo>
                      <a:pt x="18572" y="20405"/>
                    </a:lnTo>
                    <a:lnTo>
                      <a:pt x="14938" y="21429"/>
                    </a:lnTo>
                    <a:lnTo>
                      <a:pt x="12516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</p:grpSp>
      </p:grpSp>
      <p:sp>
        <p:nvSpPr>
          <p:cNvPr id="44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146558" y="5997245"/>
            <a:ext cx="166712" cy="168059"/>
          </a:xfrm>
          <a:prstGeom prst="rect">
            <a:avLst/>
          </a:prstGeom>
        </p:spPr>
        <p:txBody>
          <a:bodyPr/>
          <a:lstStyle>
            <a:lvl1pPr indent="0">
              <a:defRPr sz="1092" spc="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fld id="{86CB4B4D-7CA3-9044-876B-883B54F8677D}" type="slidenum">
              <a:rPr lang="ru-RU" smtClean="0"/>
              <a:t>‹#›</a:t>
            </a:fld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AC1E062-C60F-8E2B-06E3-7C7EE5C85F23}"/>
              </a:ext>
            </a:extLst>
          </p:cNvPr>
          <p:cNvSpPr txBox="1"/>
          <p:nvPr userDrawn="1"/>
        </p:nvSpPr>
        <p:spPr>
          <a:xfrm>
            <a:off x="3693598" y="2561891"/>
            <a:ext cx="4869725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8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/>
              </a:rPr>
              <a:t>СПАСИБО ЗА ВНИМАНИЕ</a:t>
            </a:r>
          </a:p>
        </p:txBody>
      </p:sp>
    </p:spTree>
    <p:extLst>
      <p:ext uri="{BB962C8B-B14F-4D97-AF65-F5344CB8AC3E}">
        <p14:creationId xmlns:p14="http://schemas.microsoft.com/office/powerpoint/2010/main" val="3768280707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Перебивочный слайд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8" name="Прямоугольник 1"/>
          <p:cNvSpPr/>
          <p:nvPr/>
        </p:nvSpPr>
        <p:spPr>
          <a:xfrm>
            <a:off x="0" y="0"/>
            <a:ext cx="12192000" cy="4815671"/>
          </a:xfrm>
          <a:prstGeom prst="rect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27726" rIns="27726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1092"/>
          </a:p>
        </p:txBody>
      </p:sp>
      <p:grpSp>
        <p:nvGrpSpPr>
          <p:cNvPr id="640" name="Группа 4"/>
          <p:cNvGrpSpPr/>
          <p:nvPr/>
        </p:nvGrpSpPr>
        <p:grpSpPr>
          <a:xfrm>
            <a:off x="785586" y="3655155"/>
            <a:ext cx="10439683" cy="1162783"/>
            <a:chOff x="0" y="0"/>
            <a:chExt cx="17214601" cy="1916437"/>
          </a:xfrm>
        </p:grpSpPr>
        <p:grpSp>
          <p:nvGrpSpPr>
            <p:cNvPr id="629" name="Группа 3"/>
            <p:cNvGrpSpPr/>
            <p:nvPr/>
          </p:nvGrpSpPr>
          <p:grpSpPr>
            <a:xfrm>
              <a:off x="4580769" y="1591392"/>
              <a:ext cx="12633833" cy="321280"/>
              <a:chOff x="0" y="0"/>
              <a:chExt cx="12633832" cy="321279"/>
            </a:xfrm>
          </p:grpSpPr>
          <p:sp>
            <p:nvSpPr>
              <p:cNvPr id="589" name="bk object 21"/>
              <p:cNvSpPr/>
              <p:nvPr/>
            </p:nvSpPr>
            <p:spPr>
              <a:xfrm>
                <a:off x="12526769" y="0"/>
                <a:ext cx="107064" cy="321280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590" name="bk object 22"/>
              <p:cNvSpPr/>
              <p:nvPr/>
            </p:nvSpPr>
            <p:spPr>
              <a:xfrm>
                <a:off x="9314805" y="0"/>
                <a:ext cx="107064" cy="321280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591" name="bk object 23"/>
              <p:cNvSpPr/>
              <p:nvPr/>
            </p:nvSpPr>
            <p:spPr>
              <a:xfrm>
                <a:off x="9636011" y="107065"/>
                <a:ext cx="107064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592" name="bk object 24"/>
              <p:cNvSpPr/>
              <p:nvPr/>
            </p:nvSpPr>
            <p:spPr>
              <a:xfrm>
                <a:off x="9957205" y="107065"/>
                <a:ext cx="107064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593" name="bk object 25"/>
              <p:cNvSpPr/>
              <p:nvPr/>
            </p:nvSpPr>
            <p:spPr>
              <a:xfrm>
                <a:off x="10278398" y="107065"/>
                <a:ext cx="107075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594" name="bk object 26"/>
              <p:cNvSpPr/>
              <p:nvPr/>
            </p:nvSpPr>
            <p:spPr>
              <a:xfrm>
                <a:off x="10599594" y="107065"/>
                <a:ext cx="107075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595" name="bk object 27"/>
              <p:cNvSpPr/>
              <p:nvPr/>
            </p:nvSpPr>
            <p:spPr>
              <a:xfrm>
                <a:off x="10920809" y="0"/>
                <a:ext cx="107064" cy="321280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596" name="bk object 28"/>
              <p:cNvSpPr/>
              <p:nvPr/>
            </p:nvSpPr>
            <p:spPr>
              <a:xfrm>
                <a:off x="7708813" y="0"/>
                <a:ext cx="107064" cy="321280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597" name="bk object 29"/>
              <p:cNvSpPr/>
              <p:nvPr/>
            </p:nvSpPr>
            <p:spPr>
              <a:xfrm>
                <a:off x="8030006" y="107065"/>
                <a:ext cx="107075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598" name="bk object 30"/>
              <p:cNvSpPr/>
              <p:nvPr/>
            </p:nvSpPr>
            <p:spPr>
              <a:xfrm>
                <a:off x="8351201" y="107065"/>
                <a:ext cx="107075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599" name="bk object 31"/>
              <p:cNvSpPr/>
              <p:nvPr/>
            </p:nvSpPr>
            <p:spPr>
              <a:xfrm>
                <a:off x="8672417" y="107065"/>
                <a:ext cx="107064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00" name="bk object 32"/>
              <p:cNvSpPr/>
              <p:nvPr/>
            </p:nvSpPr>
            <p:spPr>
              <a:xfrm>
                <a:off x="8993611" y="107065"/>
                <a:ext cx="107064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01" name="bk object 33"/>
              <p:cNvSpPr/>
              <p:nvPr/>
            </p:nvSpPr>
            <p:spPr>
              <a:xfrm>
                <a:off x="6102799" y="0"/>
                <a:ext cx="107064" cy="321280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02" name="bk object 34"/>
              <p:cNvSpPr/>
              <p:nvPr/>
            </p:nvSpPr>
            <p:spPr>
              <a:xfrm>
                <a:off x="6424014" y="107065"/>
                <a:ext cx="107075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03" name="bk object 35"/>
              <p:cNvSpPr/>
              <p:nvPr/>
            </p:nvSpPr>
            <p:spPr>
              <a:xfrm>
                <a:off x="6745209" y="107065"/>
                <a:ext cx="107075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04" name="bk object 36"/>
              <p:cNvSpPr/>
              <p:nvPr/>
            </p:nvSpPr>
            <p:spPr>
              <a:xfrm>
                <a:off x="7066381" y="107065"/>
                <a:ext cx="107075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05" name="bk object 37"/>
              <p:cNvSpPr/>
              <p:nvPr/>
            </p:nvSpPr>
            <p:spPr>
              <a:xfrm>
                <a:off x="7387618" y="107065"/>
                <a:ext cx="107064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06" name="bk object 38"/>
              <p:cNvSpPr/>
              <p:nvPr/>
            </p:nvSpPr>
            <p:spPr>
              <a:xfrm>
                <a:off x="4496806" y="0"/>
                <a:ext cx="107064" cy="321280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07" name="bk object 39"/>
              <p:cNvSpPr/>
              <p:nvPr/>
            </p:nvSpPr>
            <p:spPr>
              <a:xfrm>
                <a:off x="4818000" y="107065"/>
                <a:ext cx="107064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08" name="bk object 40"/>
              <p:cNvSpPr/>
              <p:nvPr/>
            </p:nvSpPr>
            <p:spPr>
              <a:xfrm>
                <a:off x="5139194" y="107065"/>
                <a:ext cx="107075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09" name="bk object 41"/>
              <p:cNvSpPr/>
              <p:nvPr/>
            </p:nvSpPr>
            <p:spPr>
              <a:xfrm>
                <a:off x="5460389" y="107065"/>
                <a:ext cx="107075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10" name="bk object 42"/>
              <p:cNvSpPr/>
              <p:nvPr/>
            </p:nvSpPr>
            <p:spPr>
              <a:xfrm>
                <a:off x="5781605" y="107065"/>
                <a:ext cx="107064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11" name="bk object 43"/>
              <p:cNvSpPr/>
              <p:nvPr/>
            </p:nvSpPr>
            <p:spPr>
              <a:xfrm>
                <a:off x="2890813" y="0"/>
                <a:ext cx="107065" cy="321280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12" name="bk object 44"/>
              <p:cNvSpPr/>
              <p:nvPr/>
            </p:nvSpPr>
            <p:spPr>
              <a:xfrm>
                <a:off x="3212007" y="107065"/>
                <a:ext cx="107065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13" name="bk object 45"/>
              <p:cNvSpPr/>
              <p:nvPr/>
            </p:nvSpPr>
            <p:spPr>
              <a:xfrm>
                <a:off x="3533202" y="107065"/>
                <a:ext cx="107076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14" name="bk object 46"/>
              <p:cNvSpPr/>
              <p:nvPr/>
            </p:nvSpPr>
            <p:spPr>
              <a:xfrm>
                <a:off x="3854406" y="107065"/>
                <a:ext cx="107065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15" name="bk object 47"/>
              <p:cNvSpPr/>
              <p:nvPr/>
            </p:nvSpPr>
            <p:spPr>
              <a:xfrm>
                <a:off x="4175612" y="107065"/>
                <a:ext cx="107064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16" name="bk object 48"/>
              <p:cNvSpPr/>
              <p:nvPr/>
            </p:nvSpPr>
            <p:spPr>
              <a:xfrm>
                <a:off x="1284820" y="0"/>
                <a:ext cx="107065" cy="321280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17" name="bk object 49"/>
              <p:cNvSpPr/>
              <p:nvPr/>
            </p:nvSpPr>
            <p:spPr>
              <a:xfrm>
                <a:off x="1606013" y="107065"/>
                <a:ext cx="107065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18" name="bk object 50"/>
              <p:cNvSpPr/>
              <p:nvPr/>
            </p:nvSpPr>
            <p:spPr>
              <a:xfrm>
                <a:off x="1927209" y="107065"/>
                <a:ext cx="107076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19" name="bk object 51"/>
              <p:cNvSpPr/>
              <p:nvPr/>
            </p:nvSpPr>
            <p:spPr>
              <a:xfrm>
                <a:off x="2248414" y="107065"/>
                <a:ext cx="107065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20" name="bk object 52"/>
              <p:cNvSpPr/>
              <p:nvPr/>
            </p:nvSpPr>
            <p:spPr>
              <a:xfrm>
                <a:off x="2569619" y="107065"/>
                <a:ext cx="107065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21" name="bk object 54"/>
              <p:cNvSpPr/>
              <p:nvPr/>
            </p:nvSpPr>
            <p:spPr>
              <a:xfrm>
                <a:off x="0" y="107065"/>
                <a:ext cx="107064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22" name="bk object 55"/>
              <p:cNvSpPr/>
              <p:nvPr/>
            </p:nvSpPr>
            <p:spPr>
              <a:xfrm>
                <a:off x="321195" y="107065"/>
                <a:ext cx="107064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23" name="bk object 56"/>
              <p:cNvSpPr/>
              <p:nvPr/>
            </p:nvSpPr>
            <p:spPr>
              <a:xfrm>
                <a:off x="642421" y="107065"/>
                <a:ext cx="107065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24" name="bk object 57"/>
              <p:cNvSpPr/>
              <p:nvPr/>
            </p:nvSpPr>
            <p:spPr>
              <a:xfrm>
                <a:off x="963625" y="107065"/>
                <a:ext cx="107065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25" name="bk object 58"/>
              <p:cNvSpPr/>
              <p:nvPr/>
            </p:nvSpPr>
            <p:spPr>
              <a:xfrm>
                <a:off x="11242002" y="107065"/>
                <a:ext cx="107064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26" name="bk object 59"/>
              <p:cNvSpPr/>
              <p:nvPr/>
            </p:nvSpPr>
            <p:spPr>
              <a:xfrm>
                <a:off x="11563198" y="107065"/>
                <a:ext cx="107064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27" name="bk object 60"/>
              <p:cNvSpPr/>
              <p:nvPr/>
            </p:nvSpPr>
            <p:spPr>
              <a:xfrm>
                <a:off x="11884403" y="107065"/>
                <a:ext cx="107064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28" name="bk object 61"/>
              <p:cNvSpPr/>
              <p:nvPr/>
            </p:nvSpPr>
            <p:spPr>
              <a:xfrm>
                <a:off x="12205585" y="107065"/>
                <a:ext cx="107075" cy="21421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</p:grpSp>
        <p:grpSp>
          <p:nvGrpSpPr>
            <p:cNvPr id="639" name="Группа 55"/>
            <p:cNvGrpSpPr/>
            <p:nvPr/>
          </p:nvGrpSpPr>
          <p:grpSpPr>
            <a:xfrm>
              <a:off x="0" y="0"/>
              <a:ext cx="4356731" cy="1916438"/>
              <a:chOff x="0" y="0"/>
              <a:chExt cx="4356730" cy="1916437"/>
            </a:xfrm>
          </p:grpSpPr>
          <p:sp>
            <p:nvSpPr>
              <p:cNvPr id="630" name="Rectangle 139"/>
              <p:cNvSpPr/>
              <p:nvPr/>
            </p:nvSpPr>
            <p:spPr>
              <a:xfrm>
                <a:off x="-1" y="8730"/>
                <a:ext cx="279390" cy="190770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31" name="Rectangle 140"/>
              <p:cNvSpPr/>
              <p:nvPr/>
            </p:nvSpPr>
            <p:spPr>
              <a:xfrm>
                <a:off x="820706" y="1375121"/>
                <a:ext cx="270659" cy="541317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32" name="Rectangle 141"/>
              <p:cNvSpPr/>
              <p:nvPr/>
            </p:nvSpPr>
            <p:spPr>
              <a:xfrm>
                <a:off x="1632682" y="1375121"/>
                <a:ext cx="279390" cy="541317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33" name="Rectangle 142"/>
              <p:cNvSpPr/>
              <p:nvPr/>
            </p:nvSpPr>
            <p:spPr>
              <a:xfrm>
                <a:off x="2453389" y="1375121"/>
                <a:ext cx="270659" cy="541317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34" name="Rectangle 143"/>
              <p:cNvSpPr/>
              <p:nvPr/>
            </p:nvSpPr>
            <p:spPr>
              <a:xfrm>
                <a:off x="3274096" y="1375121"/>
                <a:ext cx="270659" cy="541317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35" name="Freeform 144"/>
              <p:cNvSpPr/>
              <p:nvPr/>
            </p:nvSpPr>
            <p:spPr>
              <a:xfrm>
                <a:off x="2994706" y="8730"/>
                <a:ext cx="820708" cy="109573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0" y="0"/>
                    </a:lnTo>
                    <a:lnTo>
                      <a:pt x="0" y="5335"/>
                    </a:lnTo>
                    <a:lnTo>
                      <a:pt x="7353" y="5335"/>
                    </a:lnTo>
                    <a:lnTo>
                      <a:pt x="7353" y="21600"/>
                    </a:lnTo>
                    <a:lnTo>
                      <a:pt x="14477" y="21600"/>
                    </a:lnTo>
                    <a:lnTo>
                      <a:pt x="14477" y="5335"/>
                    </a:lnTo>
                    <a:lnTo>
                      <a:pt x="21600" y="5335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36" name="Rectangle 145"/>
              <p:cNvSpPr/>
              <p:nvPr/>
            </p:nvSpPr>
            <p:spPr>
              <a:xfrm>
                <a:off x="4086072" y="8730"/>
                <a:ext cx="270659" cy="190770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37" name="Freeform 146"/>
              <p:cNvSpPr/>
              <p:nvPr/>
            </p:nvSpPr>
            <p:spPr>
              <a:xfrm>
                <a:off x="820706" y="8730"/>
                <a:ext cx="811977" cy="109573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916" y="10671"/>
                    </a:moveTo>
                    <a:lnTo>
                      <a:pt x="7200" y="10671"/>
                    </a:lnTo>
                    <a:lnTo>
                      <a:pt x="7200" y="5335"/>
                    </a:lnTo>
                    <a:lnTo>
                      <a:pt x="11613" y="5335"/>
                    </a:lnTo>
                    <a:lnTo>
                      <a:pt x="12310" y="5508"/>
                    </a:lnTo>
                    <a:lnTo>
                      <a:pt x="13471" y="6196"/>
                    </a:lnTo>
                    <a:lnTo>
                      <a:pt x="14168" y="7057"/>
                    </a:lnTo>
                    <a:lnTo>
                      <a:pt x="14400" y="7401"/>
                    </a:lnTo>
                    <a:lnTo>
                      <a:pt x="14400" y="8606"/>
                    </a:lnTo>
                    <a:lnTo>
                      <a:pt x="14168" y="9122"/>
                    </a:lnTo>
                    <a:lnTo>
                      <a:pt x="13471" y="9982"/>
                    </a:lnTo>
                    <a:lnTo>
                      <a:pt x="12310" y="10499"/>
                    </a:lnTo>
                    <a:lnTo>
                      <a:pt x="11613" y="10671"/>
                    </a:lnTo>
                    <a:lnTo>
                      <a:pt x="10916" y="10671"/>
                    </a:lnTo>
                    <a:close/>
                    <a:moveTo>
                      <a:pt x="10916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7200" y="21600"/>
                    </a:lnTo>
                    <a:lnTo>
                      <a:pt x="7200" y="16006"/>
                    </a:lnTo>
                    <a:lnTo>
                      <a:pt x="10916" y="16006"/>
                    </a:lnTo>
                    <a:lnTo>
                      <a:pt x="13006" y="15834"/>
                    </a:lnTo>
                    <a:lnTo>
                      <a:pt x="15097" y="15490"/>
                    </a:lnTo>
                    <a:lnTo>
                      <a:pt x="16955" y="14629"/>
                    </a:lnTo>
                    <a:lnTo>
                      <a:pt x="18581" y="13769"/>
                    </a:lnTo>
                    <a:lnTo>
                      <a:pt x="19974" y="12564"/>
                    </a:lnTo>
                    <a:lnTo>
                      <a:pt x="20903" y="11187"/>
                    </a:lnTo>
                    <a:lnTo>
                      <a:pt x="21600" y="9638"/>
                    </a:lnTo>
                    <a:lnTo>
                      <a:pt x="21600" y="6368"/>
                    </a:lnTo>
                    <a:lnTo>
                      <a:pt x="20903" y="4819"/>
                    </a:lnTo>
                    <a:lnTo>
                      <a:pt x="19974" y="3614"/>
                    </a:lnTo>
                    <a:lnTo>
                      <a:pt x="18581" y="2410"/>
                    </a:lnTo>
                    <a:lnTo>
                      <a:pt x="16955" y="1377"/>
                    </a:lnTo>
                    <a:lnTo>
                      <a:pt x="15097" y="688"/>
                    </a:lnTo>
                    <a:lnTo>
                      <a:pt x="13006" y="172"/>
                    </a:lnTo>
                    <a:lnTo>
                      <a:pt x="10916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638" name="Freeform 149"/>
              <p:cNvSpPr/>
              <p:nvPr/>
            </p:nvSpPr>
            <p:spPr>
              <a:xfrm>
                <a:off x="1833493" y="-1"/>
                <a:ext cx="934210" cy="110446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516" y="21600"/>
                    </a:moveTo>
                    <a:lnTo>
                      <a:pt x="10093" y="21429"/>
                    </a:lnTo>
                    <a:lnTo>
                      <a:pt x="7873" y="20746"/>
                    </a:lnTo>
                    <a:lnTo>
                      <a:pt x="6662" y="20405"/>
                    </a:lnTo>
                    <a:lnTo>
                      <a:pt x="5652" y="19892"/>
                    </a:lnTo>
                    <a:lnTo>
                      <a:pt x="4643" y="19124"/>
                    </a:lnTo>
                    <a:lnTo>
                      <a:pt x="2826" y="17587"/>
                    </a:lnTo>
                    <a:lnTo>
                      <a:pt x="2019" y="16734"/>
                    </a:lnTo>
                    <a:lnTo>
                      <a:pt x="1413" y="15880"/>
                    </a:lnTo>
                    <a:lnTo>
                      <a:pt x="807" y="14855"/>
                    </a:lnTo>
                    <a:lnTo>
                      <a:pt x="404" y="13831"/>
                    </a:lnTo>
                    <a:lnTo>
                      <a:pt x="0" y="11782"/>
                    </a:lnTo>
                    <a:lnTo>
                      <a:pt x="0" y="9733"/>
                    </a:lnTo>
                    <a:lnTo>
                      <a:pt x="404" y="7684"/>
                    </a:lnTo>
                    <a:lnTo>
                      <a:pt x="807" y="6659"/>
                    </a:lnTo>
                    <a:lnTo>
                      <a:pt x="1413" y="5635"/>
                    </a:lnTo>
                    <a:lnTo>
                      <a:pt x="2019" y="4781"/>
                    </a:lnTo>
                    <a:lnTo>
                      <a:pt x="2826" y="3927"/>
                    </a:lnTo>
                    <a:lnTo>
                      <a:pt x="4643" y="2391"/>
                    </a:lnTo>
                    <a:lnTo>
                      <a:pt x="5652" y="1878"/>
                    </a:lnTo>
                    <a:lnTo>
                      <a:pt x="6662" y="1195"/>
                    </a:lnTo>
                    <a:lnTo>
                      <a:pt x="7873" y="854"/>
                    </a:lnTo>
                    <a:lnTo>
                      <a:pt x="10093" y="171"/>
                    </a:lnTo>
                    <a:lnTo>
                      <a:pt x="12516" y="0"/>
                    </a:lnTo>
                    <a:lnTo>
                      <a:pt x="14938" y="171"/>
                    </a:lnTo>
                    <a:lnTo>
                      <a:pt x="18572" y="1195"/>
                    </a:lnTo>
                    <a:lnTo>
                      <a:pt x="19581" y="1878"/>
                    </a:lnTo>
                    <a:lnTo>
                      <a:pt x="20591" y="2391"/>
                    </a:lnTo>
                    <a:lnTo>
                      <a:pt x="21600" y="3244"/>
                    </a:lnTo>
                    <a:lnTo>
                      <a:pt x="17159" y="7001"/>
                    </a:lnTo>
                    <a:lnTo>
                      <a:pt x="16150" y="6318"/>
                    </a:lnTo>
                    <a:lnTo>
                      <a:pt x="14938" y="5806"/>
                    </a:lnTo>
                    <a:lnTo>
                      <a:pt x="13727" y="5464"/>
                    </a:lnTo>
                    <a:lnTo>
                      <a:pt x="12516" y="5293"/>
                    </a:lnTo>
                    <a:lnTo>
                      <a:pt x="11305" y="5464"/>
                    </a:lnTo>
                    <a:lnTo>
                      <a:pt x="10093" y="5806"/>
                    </a:lnTo>
                    <a:lnTo>
                      <a:pt x="9084" y="6318"/>
                    </a:lnTo>
                    <a:lnTo>
                      <a:pt x="8075" y="7001"/>
                    </a:lnTo>
                    <a:lnTo>
                      <a:pt x="7267" y="7855"/>
                    </a:lnTo>
                    <a:lnTo>
                      <a:pt x="6662" y="8708"/>
                    </a:lnTo>
                    <a:lnTo>
                      <a:pt x="6258" y="9733"/>
                    </a:lnTo>
                    <a:lnTo>
                      <a:pt x="6258" y="11782"/>
                    </a:lnTo>
                    <a:lnTo>
                      <a:pt x="6662" y="12806"/>
                    </a:lnTo>
                    <a:lnTo>
                      <a:pt x="7267" y="13831"/>
                    </a:lnTo>
                    <a:lnTo>
                      <a:pt x="8075" y="14514"/>
                    </a:lnTo>
                    <a:lnTo>
                      <a:pt x="9084" y="15197"/>
                    </a:lnTo>
                    <a:lnTo>
                      <a:pt x="10093" y="15709"/>
                    </a:lnTo>
                    <a:lnTo>
                      <a:pt x="11305" y="16051"/>
                    </a:lnTo>
                    <a:lnTo>
                      <a:pt x="12516" y="16221"/>
                    </a:lnTo>
                    <a:lnTo>
                      <a:pt x="13727" y="16051"/>
                    </a:lnTo>
                    <a:lnTo>
                      <a:pt x="14938" y="15709"/>
                    </a:lnTo>
                    <a:lnTo>
                      <a:pt x="16150" y="15197"/>
                    </a:lnTo>
                    <a:lnTo>
                      <a:pt x="17159" y="14514"/>
                    </a:lnTo>
                    <a:lnTo>
                      <a:pt x="21600" y="18270"/>
                    </a:lnTo>
                    <a:lnTo>
                      <a:pt x="20591" y="19124"/>
                    </a:lnTo>
                    <a:lnTo>
                      <a:pt x="19581" y="19892"/>
                    </a:lnTo>
                    <a:lnTo>
                      <a:pt x="18572" y="20405"/>
                    </a:lnTo>
                    <a:lnTo>
                      <a:pt x="14938" y="21429"/>
                    </a:lnTo>
                    <a:lnTo>
                      <a:pt x="12516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</p:grpSp>
      </p:grpSp>
      <p:grpSp>
        <p:nvGrpSpPr>
          <p:cNvPr id="643" name="Группа 69"/>
          <p:cNvGrpSpPr/>
          <p:nvPr/>
        </p:nvGrpSpPr>
        <p:grpSpPr>
          <a:xfrm>
            <a:off x="641349" y="5205119"/>
            <a:ext cx="95250" cy="1232506"/>
            <a:chOff x="0" y="0"/>
            <a:chExt cx="157063" cy="2031351"/>
          </a:xfrm>
        </p:grpSpPr>
        <p:sp>
          <p:nvSpPr>
            <p:cNvPr id="641" name="object 4"/>
            <p:cNvSpPr/>
            <p:nvPr/>
          </p:nvSpPr>
          <p:spPr>
            <a:xfrm>
              <a:off x="0" y="471189"/>
              <a:ext cx="157064" cy="1141326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42" name="object 5"/>
            <p:cNvSpPr/>
            <p:nvPr/>
          </p:nvSpPr>
          <p:spPr>
            <a:xfrm flipV="1">
              <a:off x="157062" y="0"/>
              <a:ext cx="1" cy="2031352"/>
            </a:xfrm>
            <a:prstGeom prst="line">
              <a:avLst/>
            </a:prstGeom>
            <a:noFill/>
            <a:ln w="20941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</p:grpSp>
      <p:sp>
        <p:nvSpPr>
          <p:cNvPr id="64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982898" y="5650144"/>
            <a:ext cx="10226204" cy="368814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64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570888" y="6356350"/>
            <a:ext cx="166712" cy="168059"/>
          </a:xfrm>
          <a:prstGeom prst="rect">
            <a:avLst/>
          </a:prstGeom>
        </p:spPr>
        <p:txBody>
          <a:bodyPr/>
          <a:lstStyle>
            <a:lvl1pPr indent="0">
              <a:defRPr sz="1092" spc="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24033715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Последний слайд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2" name="bk object 72"/>
          <p:cNvSpPr/>
          <p:nvPr/>
        </p:nvSpPr>
        <p:spPr>
          <a:xfrm>
            <a:off x="-1" y="6162528"/>
            <a:ext cx="12192001" cy="698843"/>
          </a:xfrm>
          <a:prstGeom prst="rect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27726" rIns="27726"/>
          <a:lstStyle/>
          <a:p>
            <a:endParaRPr sz="1092"/>
          </a:p>
        </p:txBody>
      </p:sp>
      <p:grpSp>
        <p:nvGrpSpPr>
          <p:cNvPr id="655" name="Группа 7"/>
          <p:cNvGrpSpPr/>
          <p:nvPr/>
        </p:nvGrpSpPr>
        <p:grpSpPr>
          <a:xfrm>
            <a:off x="6057875" y="2367551"/>
            <a:ext cx="76201" cy="1099091"/>
            <a:chOff x="0" y="0"/>
            <a:chExt cx="125650" cy="1811463"/>
          </a:xfrm>
        </p:grpSpPr>
        <p:sp>
          <p:nvSpPr>
            <p:cNvPr id="653" name="bk object 73"/>
            <p:cNvSpPr/>
            <p:nvPr/>
          </p:nvSpPr>
          <p:spPr>
            <a:xfrm>
              <a:off x="0" y="272242"/>
              <a:ext cx="125651" cy="1015676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54" name="bk object 74"/>
            <p:cNvSpPr/>
            <p:nvPr/>
          </p:nvSpPr>
          <p:spPr>
            <a:xfrm flipH="1">
              <a:off x="125649" y="0"/>
              <a:ext cx="1" cy="1811464"/>
            </a:xfrm>
            <a:prstGeom prst="line">
              <a:avLst/>
            </a:prstGeom>
            <a:noFill/>
            <a:ln w="11740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</p:grpSp>
      <p:grpSp>
        <p:nvGrpSpPr>
          <p:cNvPr id="710" name="Группа 69"/>
          <p:cNvGrpSpPr/>
          <p:nvPr/>
        </p:nvGrpSpPr>
        <p:grpSpPr>
          <a:xfrm>
            <a:off x="1193800" y="5707200"/>
            <a:ext cx="9804399" cy="457349"/>
            <a:chOff x="0" y="0"/>
            <a:chExt cx="16167043" cy="753778"/>
          </a:xfrm>
        </p:grpSpPr>
        <p:sp>
          <p:nvSpPr>
            <p:cNvPr id="656" name="bk object 17"/>
            <p:cNvSpPr/>
            <p:nvPr/>
          </p:nvSpPr>
          <p:spPr>
            <a:xfrm>
              <a:off x="14775181" y="539533"/>
              <a:ext cx="107064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57" name="bk object 18"/>
            <p:cNvSpPr/>
            <p:nvPr/>
          </p:nvSpPr>
          <p:spPr>
            <a:xfrm>
              <a:off x="15096387" y="539533"/>
              <a:ext cx="107064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58" name="bk object 19"/>
            <p:cNvSpPr/>
            <p:nvPr/>
          </p:nvSpPr>
          <p:spPr>
            <a:xfrm>
              <a:off x="15417570" y="539533"/>
              <a:ext cx="107075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59" name="bk object 20"/>
            <p:cNvSpPr/>
            <p:nvPr/>
          </p:nvSpPr>
          <p:spPr>
            <a:xfrm>
              <a:off x="15738786" y="539533"/>
              <a:ext cx="107064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60" name="bk object 21"/>
            <p:cNvSpPr/>
            <p:nvPr/>
          </p:nvSpPr>
          <p:spPr>
            <a:xfrm>
              <a:off x="16059980" y="432467"/>
              <a:ext cx="107064" cy="321280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61" name="bk object 22"/>
            <p:cNvSpPr/>
            <p:nvPr/>
          </p:nvSpPr>
          <p:spPr>
            <a:xfrm>
              <a:off x="9635978" y="432467"/>
              <a:ext cx="107064" cy="321280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62" name="bk object 23"/>
            <p:cNvSpPr/>
            <p:nvPr/>
          </p:nvSpPr>
          <p:spPr>
            <a:xfrm>
              <a:off x="9957182" y="539533"/>
              <a:ext cx="107064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63" name="bk object 24"/>
            <p:cNvSpPr/>
            <p:nvPr/>
          </p:nvSpPr>
          <p:spPr>
            <a:xfrm>
              <a:off x="10278377" y="539533"/>
              <a:ext cx="107064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64" name="bk object 25"/>
            <p:cNvSpPr/>
            <p:nvPr/>
          </p:nvSpPr>
          <p:spPr>
            <a:xfrm>
              <a:off x="10599570" y="539533"/>
              <a:ext cx="107075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65" name="bk object 26"/>
            <p:cNvSpPr/>
            <p:nvPr/>
          </p:nvSpPr>
          <p:spPr>
            <a:xfrm>
              <a:off x="10920765" y="539533"/>
              <a:ext cx="107075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66" name="bk object 27"/>
            <p:cNvSpPr/>
            <p:nvPr/>
          </p:nvSpPr>
          <p:spPr>
            <a:xfrm>
              <a:off x="11241981" y="432467"/>
              <a:ext cx="107064" cy="321280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67" name="bk object 28"/>
            <p:cNvSpPr/>
            <p:nvPr/>
          </p:nvSpPr>
          <p:spPr>
            <a:xfrm>
              <a:off x="8029985" y="432467"/>
              <a:ext cx="107064" cy="321280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68" name="bk object 29"/>
            <p:cNvSpPr/>
            <p:nvPr/>
          </p:nvSpPr>
          <p:spPr>
            <a:xfrm>
              <a:off x="8351179" y="539533"/>
              <a:ext cx="107075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69" name="bk object 30"/>
            <p:cNvSpPr/>
            <p:nvPr/>
          </p:nvSpPr>
          <p:spPr>
            <a:xfrm>
              <a:off x="8672372" y="539533"/>
              <a:ext cx="107075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70" name="bk object 31"/>
            <p:cNvSpPr/>
            <p:nvPr/>
          </p:nvSpPr>
          <p:spPr>
            <a:xfrm>
              <a:off x="8993589" y="539533"/>
              <a:ext cx="107064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71" name="bk object 32"/>
            <p:cNvSpPr/>
            <p:nvPr/>
          </p:nvSpPr>
          <p:spPr>
            <a:xfrm>
              <a:off x="9314783" y="539533"/>
              <a:ext cx="107064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72" name="bk object 33"/>
            <p:cNvSpPr/>
            <p:nvPr/>
          </p:nvSpPr>
          <p:spPr>
            <a:xfrm>
              <a:off x="6423971" y="432467"/>
              <a:ext cx="107064" cy="321280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73" name="bk object 34"/>
            <p:cNvSpPr/>
            <p:nvPr/>
          </p:nvSpPr>
          <p:spPr>
            <a:xfrm>
              <a:off x="6745186" y="539533"/>
              <a:ext cx="107075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74" name="bk object 35"/>
            <p:cNvSpPr/>
            <p:nvPr/>
          </p:nvSpPr>
          <p:spPr>
            <a:xfrm>
              <a:off x="7066381" y="539533"/>
              <a:ext cx="107075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75" name="bk object 36"/>
            <p:cNvSpPr/>
            <p:nvPr/>
          </p:nvSpPr>
          <p:spPr>
            <a:xfrm>
              <a:off x="7387554" y="539533"/>
              <a:ext cx="107075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76" name="bk object 37"/>
            <p:cNvSpPr/>
            <p:nvPr/>
          </p:nvSpPr>
          <p:spPr>
            <a:xfrm>
              <a:off x="7708790" y="539533"/>
              <a:ext cx="107064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77" name="bk object 38"/>
            <p:cNvSpPr/>
            <p:nvPr/>
          </p:nvSpPr>
          <p:spPr>
            <a:xfrm>
              <a:off x="4817978" y="432467"/>
              <a:ext cx="107064" cy="321280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78" name="bk object 39"/>
            <p:cNvSpPr/>
            <p:nvPr/>
          </p:nvSpPr>
          <p:spPr>
            <a:xfrm>
              <a:off x="5139172" y="539533"/>
              <a:ext cx="107064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79" name="bk object 40"/>
            <p:cNvSpPr/>
            <p:nvPr/>
          </p:nvSpPr>
          <p:spPr>
            <a:xfrm>
              <a:off x="5460366" y="539533"/>
              <a:ext cx="107075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80" name="bk object 41"/>
            <p:cNvSpPr/>
            <p:nvPr/>
          </p:nvSpPr>
          <p:spPr>
            <a:xfrm>
              <a:off x="5781561" y="539533"/>
              <a:ext cx="107075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81" name="bk object 42"/>
            <p:cNvSpPr/>
            <p:nvPr/>
          </p:nvSpPr>
          <p:spPr>
            <a:xfrm>
              <a:off x="6102777" y="539533"/>
              <a:ext cx="107064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82" name="bk object 43"/>
            <p:cNvSpPr/>
            <p:nvPr/>
          </p:nvSpPr>
          <p:spPr>
            <a:xfrm>
              <a:off x="3211985" y="432467"/>
              <a:ext cx="107065" cy="321280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83" name="bk object 44"/>
            <p:cNvSpPr/>
            <p:nvPr/>
          </p:nvSpPr>
          <p:spPr>
            <a:xfrm>
              <a:off x="3533179" y="539533"/>
              <a:ext cx="107065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84" name="bk object 45"/>
            <p:cNvSpPr/>
            <p:nvPr/>
          </p:nvSpPr>
          <p:spPr>
            <a:xfrm>
              <a:off x="3854374" y="539533"/>
              <a:ext cx="107076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85" name="bk object 46"/>
            <p:cNvSpPr/>
            <p:nvPr/>
          </p:nvSpPr>
          <p:spPr>
            <a:xfrm>
              <a:off x="4175578" y="539533"/>
              <a:ext cx="107065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86" name="bk object 47"/>
            <p:cNvSpPr/>
            <p:nvPr/>
          </p:nvSpPr>
          <p:spPr>
            <a:xfrm>
              <a:off x="4496784" y="539533"/>
              <a:ext cx="107064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87" name="bk object 48"/>
            <p:cNvSpPr/>
            <p:nvPr/>
          </p:nvSpPr>
          <p:spPr>
            <a:xfrm>
              <a:off x="1605992" y="432467"/>
              <a:ext cx="107065" cy="321280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88" name="bk object 49"/>
            <p:cNvSpPr/>
            <p:nvPr/>
          </p:nvSpPr>
          <p:spPr>
            <a:xfrm>
              <a:off x="1927186" y="539533"/>
              <a:ext cx="107065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89" name="bk object 50"/>
            <p:cNvSpPr/>
            <p:nvPr/>
          </p:nvSpPr>
          <p:spPr>
            <a:xfrm>
              <a:off x="2248381" y="539533"/>
              <a:ext cx="107076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90" name="bk object 51"/>
            <p:cNvSpPr/>
            <p:nvPr/>
          </p:nvSpPr>
          <p:spPr>
            <a:xfrm>
              <a:off x="2569586" y="539533"/>
              <a:ext cx="107065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91" name="bk object 52"/>
            <p:cNvSpPr/>
            <p:nvPr/>
          </p:nvSpPr>
          <p:spPr>
            <a:xfrm>
              <a:off x="2890791" y="539533"/>
              <a:ext cx="107065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92" name="bk object 53"/>
            <p:cNvSpPr/>
            <p:nvPr/>
          </p:nvSpPr>
          <p:spPr>
            <a:xfrm>
              <a:off x="0" y="432467"/>
              <a:ext cx="107064" cy="321280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93" name="bk object 54"/>
            <p:cNvSpPr/>
            <p:nvPr/>
          </p:nvSpPr>
          <p:spPr>
            <a:xfrm>
              <a:off x="321172" y="539533"/>
              <a:ext cx="107065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94" name="bk object 55"/>
            <p:cNvSpPr/>
            <p:nvPr/>
          </p:nvSpPr>
          <p:spPr>
            <a:xfrm>
              <a:off x="642367" y="539533"/>
              <a:ext cx="107065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95" name="bk object 56"/>
            <p:cNvSpPr/>
            <p:nvPr/>
          </p:nvSpPr>
          <p:spPr>
            <a:xfrm>
              <a:off x="963593" y="539533"/>
              <a:ext cx="107065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96" name="bk object 57"/>
            <p:cNvSpPr/>
            <p:nvPr/>
          </p:nvSpPr>
          <p:spPr>
            <a:xfrm>
              <a:off x="1284798" y="539533"/>
              <a:ext cx="107065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97" name="bk object 58"/>
            <p:cNvSpPr/>
            <p:nvPr/>
          </p:nvSpPr>
          <p:spPr>
            <a:xfrm>
              <a:off x="11563174" y="539533"/>
              <a:ext cx="107064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98" name="bk object 59"/>
            <p:cNvSpPr/>
            <p:nvPr/>
          </p:nvSpPr>
          <p:spPr>
            <a:xfrm>
              <a:off x="11884369" y="539533"/>
              <a:ext cx="107064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99" name="bk object 60"/>
            <p:cNvSpPr/>
            <p:nvPr/>
          </p:nvSpPr>
          <p:spPr>
            <a:xfrm>
              <a:off x="12205575" y="539533"/>
              <a:ext cx="107064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700" name="bk object 61"/>
            <p:cNvSpPr/>
            <p:nvPr/>
          </p:nvSpPr>
          <p:spPr>
            <a:xfrm>
              <a:off x="12526757" y="539533"/>
              <a:ext cx="107075" cy="214214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701" name="Rectangle 139"/>
            <p:cNvSpPr/>
            <p:nvPr/>
          </p:nvSpPr>
          <p:spPr>
            <a:xfrm>
              <a:off x="12826047" y="3433"/>
              <a:ext cx="109890" cy="750346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702" name="Rectangle 140"/>
            <p:cNvSpPr/>
            <p:nvPr/>
          </p:nvSpPr>
          <p:spPr>
            <a:xfrm>
              <a:off x="13148848" y="540866"/>
              <a:ext cx="106456" cy="212913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703" name="Rectangle 141"/>
            <p:cNvSpPr/>
            <p:nvPr/>
          </p:nvSpPr>
          <p:spPr>
            <a:xfrm>
              <a:off x="13468218" y="540866"/>
              <a:ext cx="109890" cy="212913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704" name="Rectangle 142"/>
            <p:cNvSpPr/>
            <p:nvPr/>
          </p:nvSpPr>
          <p:spPr>
            <a:xfrm>
              <a:off x="13791020" y="540866"/>
              <a:ext cx="106456" cy="212913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705" name="Rectangle 143"/>
            <p:cNvSpPr/>
            <p:nvPr/>
          </p:nvSpPr>
          <p:spPr>
            <a:xfrm>
              <a:off x="14113822" y="540866"/>
              <a:ext cx="106456" cy="212913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706" name="Freeform 144"/>
            <p:cNvSpPr/>
            <p:nvPr/>
          </p:nvSpPr>
          <p:spPr>
            <a:xfrm>
              <a:off x="14003931" y="3433"/>
              <a:ext cx="322803" cy="430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0"/>
                  </a:lnTo>
                  <a:lnTo>
                    <a:pt x="0" y="5335"/>
                  </a:lnTo>
                  <a:lnTo>
                    <a:pt x="7353" y="5335"/>
                  </a:lnTo>
                  <a:lnTo>
                    <a:pt x="7353" y="21600"/>
                  </a:lnTo>
                  <a:lnTo>
                    <a:pt x="14477" y="21600"/>
                  </a:lnTo>
                  <a:lnTo>
                    <a:pt x="14477" y="5335"/>
                  </a:lnTo>
                  <a:lnTo>
                    <a:pt x="21600" y="5335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707" name="Rectangle 145"/>
            <p:cNvSpPr/>
            <p:nvPr/>
          </p:nvSpPr>
          <p:spPr>
            <a:xfrm>
              <a:off x="14433190" y="3433"/>
              <a:ext cx="106456" cy="750346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708" name="Freeform 146"/>
            <p:cNvSpPr/>
            <p:nvPr/>
          </p:nvSpPr>
          <p:spPr>
            <a:xfrm>
              <a:off x="13148848" y="3433"/>
              <a:ext cx="319369" cy="430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916" y="10671"/>
                  </a:moveTo>
                  <a:lnTo>
                    <a:pt x="7200" y="10671"/>
                  </a:lnTo>
                  <a:lnTo>
                    <a:pt x="7200" y="5335"/>
                  </a:lnTo>
                  <a:lnTo>
                    <a:pt x="11613" y="5335"/>
                  </a:lnTo>
                  <a:lnTo>
                    <a:pt x="12310" y="5508"/>
                  </a:lnTo>
                  <a:lnTo>
                    <a:pt x="13471" y="6196"/>
                  </a:lnTo>
                  <a:lnTo>
                    <a:pt x="14168" y="7057"/>
                  </a:lnTo>
                  <a:lnTo>
                    <a:pt x="14400" y="7401"/>
                  </a:lnTo>
                  <a:lnTo>
                    <a:pt x="14400" y="8606"/>
                  </a:lnTo>
                  <a:lnTo>
                    <a:pt x="14168" y="9122"/>
                  </a:lnTo>
                  <a:lnTo>
                    <a:pt x="13471" y="9982"/>
                  </a:lnTo>
                  <a:lnTo>
                    <a:pt x="12310" y="10499"/>
                  </a:lnTo>
                  <a:lnTo>
                    <a:pt x="11613" y="10671"/>
                  </a:lnTo>
                  <a:lnTo>
                    <a:pt x="10916" y="10671"/>
                  </a:lnTo>
                  <a:close/>
                  <a:moveTo>
                    <a:pt x="10916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7200" y="21600"/>
                  </a:lnTo>
                  <a:lnTo>
                    <a:pt x="7200" y="16006"/>
                  </a:lnTo>
                  <a:lnTo>
                    <a:pt x="10916" y="16006"/>
                  </a:lnTo>
                  <a:lnTo>
                    <a:pt x="13006" y="15834"/>
                  </a:lnTo>
                  <a:lnTo>
                    <a:pt x="15097" y="15490"/>
                  </a:lnTo>
                  <a:lnTo>
                    <a:pt x="16955" y="14629"/>
                  </a:lnTo>
                  <a:lnTo>
                    <a:pt x="18581" y="13769"/>
                  </a:lnTo>
                  <a:lnTo>
                    <a:pt x="19974" y="12564"/>
                  </a:lnTo>
                  <a:lnTo>
                    <a:pt x="20903" y="11187"/>
                  </a:lnTo>
                  <a:lnTo>
                    <a:pt x="21600" y="9638"/>
                  </a:lnTo>
                  <a:lnTo>
                    <a:pt x="21600" y="6368"/>
                  </a:lnTo>
                  <a:lnTo>
                    <a:pt x="20903" y="4819"/>
                  </a:lnTo>
                  <a:lnTo>
                    <a:pt x="19974" y="3614"/>
                  </a:lnTo>
                  <a:lnTo>
                    <a:pt x="18581" y="2410"/>
                  </a:lnTo>
                  <a:lnTo>
                    <a:pt x="16955" y="1377"/>
                  </a:lnTo>
                  <a:lnTo>
                    <a:pt x="15097" y="688"/>
                  </a:lnTo>
                  <a:lnTo>
                    <a:pt x="13006" y="172"/>
                  </a:lnTo>
                  <a:lnTo>
                    <a:pt x="10916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709" name="Freeform 149"/>
            <p:cNvSpPr/>
            <p:nvPr/>
          </p:nvSpPr>
          <p:spPr>
            <a:xfrm>
              <a:off x="13547201" y="0"/>
              <a:ext cx="367445" cy="4344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516" y="21600"/>
                  </a:moveTo>
                  <a:lnTo>
                    <a:pt x="10093" y="21429"/>
                  </a:lnTo>
                  <a:lnTo>
                    <a:pt x="7873" y="20746"/>
                  </a:lnTo>
                  <a:lnTo>
                    <a:pt x="6662" y="20405"/>
                  </a:lnTo>
                  <a:lnTo>
                    <a:pt x="5652" y="19892"/>
                  </a:lnTo>
                  <a:lnTo>
                    <a:pt x="4643" y="19124"/>
                  </a:lnTo>
                  <a:lnTo>
                    <a:pt x="2826" y="17587"/>
                  </a:lnTo>
                  <a:lnTo>
                    <a:pt x="2019" y="16734"/>
                  </a:lnTo>
                  <a:lnTo>
                    <a:pt x="1413" y="15880"/>
                  </a:lnTo>
                  <a:lnTo>
                    <a:pt x="807" y="14855"/>
                  </a:lnTo>
                  <a:lnTo>
                    <a:pt x="404" y="13831"/>
                  </a:lnTo>
                  <a:lnTo>
                    <a:pt x="0" y="11782"/>
                  </a:lnTo>
                  <a:lnTo>
                    <a:pt x="0" y="9733"/>
                  </a:lnTo>
                  <a:lnTo>
                    <a:pt x="404" y="7684"/>
                  </a:lnTo>
                  <a:lnTo>
                    <a:pt x="807" y="6659"/>
                  </a:lnTo>
                  <a:lnTo>
                    <a:pt x="1413" y="5635"/>
                  </a:lnTo>
                  <a:lnTo>
                    <a:pt x="2019" y="4781"/>
                  </a:lnTo>
                  <a:lnTo>
                    <a:pt x="2826" y="3927"/>
                  </a:lnTo>
                  <a:lnTo>
                    <a:pt x="4643" y="2391"/>
                  </a:lnTo>
                  <a:lnTo>
                    <a:pt x="5652" y="1878"/>
                  </a:lnTo>
                  <a:lnTo>
                    <a:pt x="6662" y="1195"/>
                  </a:lnTo>
                  <a:lnTo>
                    <a:pt x="7873" y="854"/>
                  </a:lnTo>
                  <a:lnTo>
                    <a:pt x="10093" y="171"/>
                  </a:lnTo>
                  <a:lnTo>
                    <a:pt x="12516" y="0"/>
                  </a:lnTo>
                  <a:lnTo>
                    <a:pt x="14938" y="171"/>
                  </a:lnTo>
                  <a:lnTo>
                    <a:pt x="18572" y="1195"/>
                  </a:lnTo>
                  <a:lnTo>
                    <a:pt x="19581" y="1878"/>
                  </a:lnTo>
                  <a:lnTo>
                    <a:pt x="20591" y="2391"/>
                  </a:lnTo>
                  <a:lnTo>
                    <a:pt x="21600" y="3244"/>
                  </a:lnTo>
                  <a:lnTo>
                    <a:pt x="17159" y="7001"/>
                  </a:lnTo>
                  <a:lnTo>
                    <a:pt x="16150" y="6318"/>
                  </a:lnTo>
                  <a:lnTo>
                    <a:pt x="14938" y="5806"/>
                  </a:lnTo>
                  <a:lnTo>
                    <a:pt x="13727" y="5464"/>
                  </a:lnTo>
                  <a:lnTo>
                    <a:pt x="12516" y="5293"/>
                  </a:lnTo>
                  <a:lnTo>
                    <a:pt x="11305" y="5464"/>
                  </a:lnTo>
                  <a:lnTo>
                    <a:pt x="10093" y="5806"/>
                  </a:lnTo>
                  <a:lnTo>
                    <a:pt x="9084" y="6318"/>
                  </a:lnTo>
                  <a:lnTo>
                    <a:pt x="8075" y="7001"/>
                  </a:lnTo>
                  <a:lnTo>
                    <a:pt x="7267" y="7855"/>
                  </a:lnTo>
                  <a:lnTo>
                    <a:pt x="6662" y="8708"/>
                  </a:lnTo>
                  <a:lnTo>
                    <a:pt x="6258" y="9733"/>
                  </a:lnTo>
                  <a:lnTo>
                    <a:pt x="6258" y="11782"/>
                  </a:lnTo>
                  <a:lnTo>
                    <a:pt x="6662" y="12806"/>
                  </a:lnTo>
                  <a:lnTo>
                    <a:pt x="7267" y="13831"/>
                  </a:lnTo>
                  <a:lnTo>
                    <a:pt x="8075" y="14514"/>
                  </a:lnTo>
                  <a:lnTo>
                    <a:pt x="9084" y="15197"/>
                  </a:lnTo>
                  <a:lnTo>
                    <a:pt x="10093" y="15709"/>
                  </a:lnTo>
                  <a:lnTo>
                    <a:pt x="11305" y="16051"/>
                  </a:lnTo>
                  <a:lnTo>
                    <a:pt x="12516" y="16221"/>
                  </a:lnTo>
                  <a:lnTo>
                    <a:pt x="13727" y="16051"/>
                  </a:lnTo>
                  <a:lnTo>
                    <a:pt x="14938" y="15709"/>
                  </a:lnTo>
                  <a:lnTo>
                    <a:pt x="16150" y="15197"/>
                  </a:lnTo>
                  <a:lnTo>
                    <a:pt x="17159" y="14514"/>
                  </a:lnTo>
                  <a:lnTo>
                    <a:pt x="21600" y="18270"/>
                  </a:lnTo>
                  <a:lnTo>
                    <a:pt x="20591" y="19124"/>
                  </a:lnTo>
                  <a:lnTo>
                    <a:pt x="19581" y="19892"/>
                  </a:lnTo>
                  <a:lnTo>
                    <a:pt x="18572" y="20405"/>
                  </a:lnTo>
                  <a:lnTo>
                    <a:pt x="14938" y="21429"/>
                  </a:lnTo>
                  <a:lnTo>
                    <a:pt x="12516" y="2160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</p:grpSp>
      <p:sp>
        <p:nvSpPr>
          <p:cNvPr id="71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570888" y="6356350"/>
            <a:ext cx="166712" cy="168059"/>
          </a:xfrm>
          <a:prstGeom prst="rect">
            <a:avLst/>
          </a:prstGeom>
        </p:spPr>
        <p:txBody>
          <a:bodyPr/>
          <a:lstStyle>
            <a:lvl1pPr indent="0">
              <a:defRPr sz="1092" spc="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24323282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227A5F-0216-44EE-B4A9-347A2550C4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4800">
                <a:solidFill>
                  <a:srgbClr val="004E6B"/>
                </a:solidFill>
                <a:latin typeface="Circe" panose="020F0502020204030204" pitchFamily="34" charset="-52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C023184A-BBEE-498B-A2CF-86F26C7E06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Circe" panose="020F0502020204030204" pitchFamily="34" charset="-5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A2197AE-4A72-44CB-A4A5-38D896F3DE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7E0F508-7732-4EFB-A6E8-F5806EA59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6FAE8E4-B4CB-4871-841F-E14DAF07E0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fld id="{A5CAF621-0CE2-413F-85B6-C92A5D41675D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  <p:grpSp>
        <p:nvGrpSpPr>
          <p:cNvPr id="7" name="Группа 69">
            <a:extLst>
              <a:ext uri="{FF2B5EF4-FFF2-40B4-BE49-F238E27FC236}">
                <a16:creationId xmlns:a16="http://schemas.microsoft.com/office/drawing/2014/main" id="{E4E4FFA0-D098-4E73-84F1-A2DEDA9CAD8B}"/>
              </a:ext>
            </a:extLst>
          </p:cNvPr>
          <p:cNvGrpSpPr/>
          <p:nvPr userDrawn="1"/>
        </p:nvGrpSpPr>
        <p:grpSpPr>
          <a:xfrm>
            <a:off x="1188976" y="6403911"/>
            <a:ext cx="9814048" cy="457574"/>
            <a:chOff x="0" y="0"/>
            <a:chExt cx="16167043" cy="753778"/>
          </a:xfrm>
          <a:solidFill>
            <a:srgbClr val="004E6B"/>
          </a:solidFill>
        </p:grpSpPr>
        <p:sp>
          <p:nvSpPr>
            <p:cNvPr id="8" name="bk object 17">
              <a:extLst>
                <a:ext uri="{FF2B5EF4-FFF2-40B4-BE49-F238E27FC236}">
                  <a16:creationId xmlns:a16="http://schemas.microsoft.com/office/drawing/2014/main" id="{E0D43E6B-52BC-413D-984B-62AA7BBAF2BE}"/>
                </a:ext>
              </a:extLst>
            </p:cNvPr>
            <p:cNvSpPr/>
            <p:nvPr/>
          </p:nvSpPr>
          <p:spPr>
            <a:xfrm>
              <a:off x="14775181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" name="bk object 18">
              <a:extLst>
                <a:ext uri="{FF2B5EF4-FFF2-40B4-BE49-F238E27FC236}">
                  <a16:creationId xmlns:a16="http://schemas.microsoft.com/office/drawing/2014/main" id="{46E21183-3262-420E-ACA2-0DEA441DD817}"/>
                </a:ext>
              </a:extLst>
            </p:cNvPr>
            <p:cNvSpPr/>
            <p:nvPr/>
          </p:nvSpPr>
          <p:spPr>
            <a:xfrm>
              <a:off x="15096387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" name="bk object 19">
              <a:extLst>
                <a:ext uri="{FF2B5EF4-FFF2-40B4-BE49-F238E27FC236}">
                  <a16:creationId xmlns:a16="http://schemas.microsoft.com/office/drawing/2014/main" id="{B1B196E3-6CE3-43B1-B81D-5E3BEF6B462A}"/>
                </a:ext>
              </a:extLst>
            </p:cNvPr>
            <p:cNvSpPr/>
            <p:nvPr/>
          </p:nvSpPr>
          <p:spPr>
            <a:xfrm>
              <a:off x="15417570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1" name="bk object 20">
              <a:extLst>
                <a:ext uri="{FF2B5EF4-FFF2-40B4-BE49-F238E27FC236}">
                  <a16:creationId xmlns:a16="http://schemas.microsoft.com/office/drawing/2014/main" id="{72C54C02-03DD-487F-B0D0-B1D884609750}"/>
                </a:ext>
              </a:extLst>
            </p:cNvPr>
            <p:cNvSpPr/>
            <p:nvPr/>
          </p:nvSpPr>
          <p:spPr>
            <a:xfrm>
              <a:off x="15738786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2" name="bk object 21">
              <a:extLst>
                <a:ext uri="{FF2B5EF4-FFF2-40B4-BE49-F238E27FC236}">
                  <a16:creationId xmlns:a16="http://schemas.microsoft.com/office/drawing/2014/main" id="{205541DD-CB48-4831-BC22-FBDD67F15B50}"/>
                </a:ext>
              </a:extLst>
            </p:cNvPr>
            <p:cNvSpPr/>
            <p:nvPr/>
          </p:nvSpPr>
          <p:spPr>
            <a:xfrm>
              <a:off x="16059980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3" name="bk object 22">
              <a:extLst>
                <a:ext uri="{FF2B5EF4-FFF2-40B4-BE49-F238E27FC236}">
                  <a16:creationId xmlns:a16="http://schemas.microsoft.com/office/drawing/2014/main" id="{E9ED3765-E917-404C-8660-D7D37435CD06}"/>
                </a:ext>
              </a:extLst>
            </p:cNvPr>
            <p:cNvSpPr/>
            <p:nvPr/>
          </p:nvSpPr>
          <p:spPr>
            <a:xfrm>
              <a:off x="9635978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4" name="bk object 23">
              <a:extLst>
                <a:ext uri="{FF2B5EF4-FFF2-40B4-BE49-F238E27FC236}">
                  <a16:creationId xmlns:a16="http://schemas.microsoft.com/office/drawing/2014/main" id="{DD4DC49E-A08F-4487-BE3B-DB862D4B06BE}"/>
                </a:ext>
              </a:extLst>
            </p:cNvPr>
            <p:cNvSpPr/>
            <p:nvPr/>
          </p:nvSpPr>
          <p:spPr>
            <a:xfrm>
              <a:off x="9957182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5" name="bk object 24">
              <a:extLst>
                <a:ext uri="{FF2B5EF4-FFF2-40B4-BE49-F238E27FC236}">
                  <a16:creationId xmlns:a16="http://schemas.microsoft.com/office/drawing/2014/main" id="{EDE9C47A-034D-4D53-AB04-73874D170019}"/>
                </a:ext>
              </a:extLst>
            </p:cNvPr>
            <p:cNvSpPr/>
            <p:nvPr/>
          </p:nvSpPr>
          <p:spPr>
            <a:xfrm>
              <a:off x="10278377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6" name="bk object 25">
              <a:extLst>
                <a:ext uri="{FF2B5EF4-FFF2-40B4-BE49-F238E27FC236}">
                  <a16:creationId xmlns:a16="http://schemas.microsoft.com/office/drawing/2014/main" id="{172B0BB6-A8A4-4CCC-8A71-4253941DA53C}"/>
                </a:ext>
              </a:extLst>
            </p:cNvPr>
            <p:cNvSpPr/>
            <p:nvPr/>
          </p:nvSpPr>
          <p:spPr>
            <a:xfrm>
              <a:off x="10599570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7" name="bk object 26">
              <a:extLst>
                <a:ext uri="{FF2B5EF4-FFF2-40B4-BE49-F238E27FC236}">
                  <a16:creationId xmlns:a16="http://schemas.microsoft.com/office/drawing/2014/main" id="{0A74F3EF-8878-4178-9B4F-9E195F994957}"/>
                </a:ext>
              </a:extLst>
            </p:cNvPr>
            <p:cNvSpPr/>
            <p:nvPr/>
          </p:nvSpPr>
          <p:spPr>
            <a:xfrm>
              <a:off x="10920765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8" name="bk object 27">
              <a:extLst>
                <a:ext uri="{FF2B5EF4-FFF2-40B4-BE49-F238E27FC236}">
                  <a16:creationId xmlns:a16="http://schemas.microsoft.com/office/drawing/2014/main" id="{7444B68B-C411-4D61-976F-CA322DC6891C}"/>
                </a:ext>
              </a:extLst>
            </p:cNvPr>
            <p:cNvSpPr/>
            <p:nvPr/>
          </p:nvSpPr>
          <p:spPr>
            <a:xfrm>
              <a:off x="11241981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9" name="bk object 28">
              <a:extLst>
                <a:ext uri="{FF2B5EF4-FFF2-40B4-BE49-F238E27FC236}">
                  <a16:creationId xmlns:a16="http://schemas.microsoft.com/office/drawing/2014/main" id="{12C08677-D71E-47B2-9E7F-3C2278F65692}"/>
                </a:ext>
              </a:extLst>
            </p:cNvPr>
            <p:cNvSpPr/>
            <p:nvPr/>
          </p:nvSpPr>
          <p:spPr>
            <a:xfrm>
              <a:off x="8029985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0" name="bk object 29">
              <a:extLst>
                <a:ext uri="{FF2B5EF4-FFF2-40B4-BE49-F238E27FC236}">
                  <a16:creationId xmlns:a16="http://schemas.microsoft.com/office/drawing/2014/main" id="{559A95B6-7199-4730-A6CD-479074C59994}"/>
                </a:ext>
              </a:extLst>
            </p:cNvPr>
            <p:cNvSpPr/>
            <p:nvPr/>
          </p:nvSpPr>
          <p:spPr>
            <a:xfrm>
              <a:off x="8351179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1" name="bk object 30">
              <a:extLst>
                <a:ext uri="{FF2B5EF4-FFF2-40B4-BE49-F238E27FC236}">
                  <a16:creationId xmlns:a16="http://schemas.microsoft.com/office/drawing/2014/main" id="{E6EF15D0-13F9-4851-B48E-55659124BBCA}"/>
                </a:ext>
              </a:extLst>
            </p:cNvPr>
            <p:cNvSpPr/>
            <p:nvPr/>
          </p:nvSpPr>
          <p:spPr>
            <a:xfrm>
              <a:off x="8672372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2" name="bk object 31">
              <a:extLst>
                <a:ext uri="{FF2B5EF4-FFF2-40B4-BE49-F238E27FC236}">
                  <a16:creationId xmlns:a16="http://schemas.microsoft.com/office/drawing/2014/main" id="{91651B8B-AA91-4E60-904E-10FB8311E92B}"/>
                </a:ext>
              </a:extLst>
            </p:cNvPr>
            <p:cNvSpPr/>
            <p:nvPr/>
          </p:nvSpPr>
          <p:spPr>
            <a:xfrm>
              <a:off x="8993589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3" name="bk object 32">
              <a:extLst>
                <a:ext uri="{FF2B5EF4-FFF2-40B4-BE49-F238E27FC236}">
                  <a16:creationId xmlns:a16="http://schemas.microsoft.com/office/drawing/2014/main" id="{01A17C0C-2640-4BFC-8036-860953680509}"/>
                </a:ext>
              </a:extLst>
            </p:cNvPr>
            <p:cNvSpPr/>
            <p:nvPr/>
          </p:nvSpPr>
          <p:spPr>
            <a:xfrm>
              <a:off x="9314783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4" name="bk object 33">
              <a:extLst>
                <a:ext uri="{FF2B5EF4-FFF2-40B4-BE49-F238E27FC236}">
                  <a16:creationId xmlns:a16="http://schemas.microsoft.com/office/drawing/2014/main" id="{DA7E12D8-BA4E-4B5C-B3E0-5372EF0E525E}"/>
                </a:ext>
              </a:extLst>
            </p:cNvPr>
            <p:cNvSpPr/>
            <p:nvPr/>
          </p:nvSpPr>
          <p:spPr>
            <a:xfrm>
              <a:off x="6423971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5" name="bk object 34">
              <a:extLst>
                <a:ext uri="{FF2B5EF4-FFF2-40B4-BE49-F238E27FC236}">
                  <a16:creationId xmlns:a16="http://schemas.microsoft.com/office/drawing/2014/main" id="{E8ED6481-7921-42C4-8B92-C3E7EF176C85}"/>
                </a:ext>
              </a:extLst>
            </p:cNvPr>
            <p:cNvSpPr/>
            <p:nvPr/>
          </p:nvSpPr>
          <p:spPr>
            <a:xfrm>
              <a:off x="6745186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6" name="bk object 35">
              <a:extLst>
                <a:ext uri="{FF2B5EF4-FFF2-40B4-BE49-F238E27FC236}">
                  <a16:creationId xmlns:a16="http://schemas.microsoft.com/office/drawing/2014/main" id="{B1A06156-A9FE-410E-B7C1-FE939CCE2C45}"/>
                </a:ext>
              </a:extLst>
            </p:cNvPr>
            <p:cNvSpPr/>
            <p:nvPr/>
          </p:nvSpPr>
          <p:spPr>
            <a:xfrm>
              <a:off x="7066381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7" name="bk object 36">
              <a:extLst>
                <a:ext uri="{FF2B5EF4-FFF2-40B4-BE49-F238E27FC236}">
                  <a16:creationId xmlns:a16="http://schemas.microsoft.com/office/drawing/2014/main" id="{F4C34553-B1EF-44C6-B960-BB94A4A78951}"/>
                </a:ext>
              </a:extLst>
            </p:cNvPr>
            <p:cNvSpPr/>
            <p:nvPr/>
          </p:nvSpPr>
          <p:spPr>
            <a:xfrm>
              <a:off x="7387554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8" name="bk object 37">
              <a:extLst>
                <a:ext uri="{FF2B5EF4-FFF2-40B4-BE49-F238E27FC236}">
                  <a16:creationId xmlns:a16="http://schemas.microsoft.com/office/drawing/2014/main" id="{774776D6-B30D-4104-9597-AF2BA6F16C80}"/>
                </a:ext>
              </a:extLst>
            </p:cNvPr>
            <p:cNvSpPr/>
            <p:nvPr/>
          </p:nvSpPr>
          <p:spPr>
            <a:xfrm>
              <a:off x="7708790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9" name="bk object 38">
              <a:extLst>
                <a:ext uri="{FF2B5EF4-FFF2-40B4-BE49-F238E27FC236}">
                  <a16:creationId xmlns:a16="http://schemas.microsoft.com/office/drawing/2014/main" id="{C6ED80D2-C5CF-4850-8381-5DF00F319296}"/>
                </a:ext>
              </a:extLst>
            </p:cNvPr>
            <p:cNvSpPr/>
            <p:nvPr/>
          </p:nvSpPr>
          <p:spPr>
            <a:xfrm>
              <a:off x="4817978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0" name="bk object 39">
              <a:extLst>
                <a:ext uri="{FF2B5EF4-FFF2-40B4-BE49-F238E27FC236}">
                  <a16:creationId xmlns:a16="http://schemas.microsoft.com/office/drawing/2014/main" id="{35ECAF57-953C-4D9D-AE01-45543D643830}"/>
                </a:ext>
              </a:extLst>
            </p:cNvPr>
            <p:cNvSpPr/>
            <p:nvPr/>
          </p:nvSpPr>
          <p:spPr>
            <a:xfrm>
              <a:off x="5139172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1" name="bk object 40">
              <a:extLst>
                <a:ext uri="{FF2B5EF4-FFF2-40B4-BE49-F238E27FC236}">
                  <a16:creationId xmlns:a16="http://schemas.microsoft.com/office/drawing/2014/main" id="{B504C6CD-374A-41A2-888D-EC46B154B687}"/>
                </a:ext>
              </a:extLst>
            </p:cNvPr>
            <p:cNvSpPr/>
            <p:nvPr/>
          </p:nvSpPr>
          <p:spPr>
            <a:xfrm>
              <a:off x="5460366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2" name="bk object 41">
              <a:extLst>
                <a:ext uri="{FF2B5EF4-FFF2-40B4-BE49-F238E27FC236}">
                  <a16:creationId xmlns:a16="http://schemas.microsoft.com/office/drawing/2014/main" id="{B86EE318-B887-42DF-B4E6-D0685ACCAC0C}"/>
                </a:ext>
              </a:extLst>
            </p:cNvPr>
            <p:cNvSpPr/>
            <p:nvPr/>
          </p:nvSpPr>
          <p:spPr>
            <a:xfrm>
              <a:off x="5781561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3" name="bk object 42">
              <a:extLst>
                <a:ext uri="{FF2B5EF4-FFF2-40B4-BE49-F238E27FC236}">
                  <a16:creationId xmlns:a16="http://schemas.microsoft.com/office/drawing/2014/main" id="{29F8BE84-8024-43D5-B780-1E12B6AF694B}"/>
                </a:ext>
              </a:extLst>
            </p:cNvPr>
            <p:cNvSpPr/>
            <p:nvPr/>
          </p:nvSpPr>
          <p:spPr>
            <a:xfrm>
              <a:off x="6102777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4" name="bk object 43">
              <a:extLst>
                <a:ext uri="{FF2B5EF4-FFF2-40B4-BE49-F238E27FC236}">
                  <a16:creationId xmlns:a16="http://schemas.microsoft.com/office/drawing/2014/main" id="{208B5DD5-4292-4043-9624-817A0B30AFAC}"/>
                </a:ext>
              </a:extLst>
            </p:cNvPr>
            <p:cNvSpPr/>
            <p:nvPr/>
          </p:nvSpPr>
          <p:spPr>
            <a:xfrm>
              <a:off x="3211985" y="432467"/>
              <a:ext cx="107065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5" name="bk object 44">
              <a:extLst>
                <a:ext uri="{FF2B5EF4-FFF2-40B4-BE49-F238E27FC236}">
                  <a16:creationId xmlns:a16="http://schemas.microsoft.com/office/drawing/2014/main" id="{31F45DF0-D884-4EC9-A7EF-0AF5E932BDA2}"/>
                </a:ext>
              </a:extLst>
            </p:cNvPr>
            <p:cNvSpPr/>
            <p:nvPr/>
          </p:nvSpPr>
          <p:spPr>
            <a:xfrm>
              <a:off x="3533179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6" name="bk object 45">
              <a:extLst>
                <a:ext uri="{FF2B5EF4-FFF2-40B4-BE49-F238E27FC236}">
                  <a16:creationId xmlns:a16="http://schemas.microsoft.com/office/drawing/2014/main" id="{4F2852B0-7A19-4BB4-B296-696F4DBFB3D4}"/>
                </a:ext>
              </a:extLst>
            </p:cNvPr>
            <p:cNvSpPr/>
            <p:nvPr/>
          </p:nvSpPr>
          <p:spPr>
            <a:xfrm>
              <a:off x="3854374" y="539533"/>
              <a:ext cx="107076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7" name="bk object 46">
              <a:extLst>
                <a:ext uri="{FF2B5EF4-FFF2-40B4-BE49-F238E27FC236}">
                  <a16:creationId xmlns:a16="http://schemas.microsoft.com/office/drawing/2014/main" id="{9D4C8C67-D309-4FCC-8B25-DED027FAD3E2}"/>
                </a:ext>
              </a:extLst>
            </p:cNvPr>
            <p:cNvSpPr/>
            <p:nvPr/>
          </p:nvSpPr>
          <p:spPr>
            <a:xfrm>
              <a:off x="4175578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8" name="bk object 47">
              <a:extLst>
                <a:ext uri="{FF2B5EF4-FFF2-40B4-BE49-F238E27FC236}">
                  <a16:creationId xmlns:a16="http://schemas.microsoft.com/office/drawing/2014/main" id="{79B952DF-E700-4772-8C28-82D559B8B2D1}"/>
                </a:ext>
              </a:extLst>
            </p:cNvPr>
            <p:cNvSpPr/>
            <p:nvPr/>
          </p:nvSpPr>
          <p:spPr>
            <a:xfrm>
              <a:off x="4496784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9" name="bk object 48">
              <a:extLst>
                <a:ext uri="{FF2B5EF4-FFF2-40B4-BE49-F238E27FC236}">
                  <a16:creationId xmlns:a16="http://schemas.microsoft.com/office/drawing/2014/main" id="{5C469864-A96E-4E05-AF7B-313E4F0D3211}"/>
                </a:ext>
              </a:extLst>
            </p:cNvPr>
            <p:cNvSpPr/>
            <p:nvPr/>
          </p:nvSpPr>
          <p:spPr>
            <a:xfrm>
              <a:off x="1605992" y="432467"/>
              <a:ext cx="107065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0" name="bk object 49">
              <a:extLst>
                <a:ext uri="{FF2B5EF4-FFF2-40B4-BE49-F238E27FC236}">
                  <a16:creationId xmlns:a16="http://schemas.microsoft.com/office/drawing/2014/main" id="{8E744A68-66B4-44F5-96C8-C90D701FB567}"/>
                </a:ext>
              </a:extLst>
            </p:cNvPr>
            <p:cNvSpPr/>
            <p:nvPr/>
          </p:nvSpPr>
          <p:spPr>
            <a:xfrm>
              <a:off x="1927186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1" name="bk object 50">
              <a:extLst>
                <a:ext uri="{FF2B5EF4-FFF2-40B4-BE49-F238E27FC236}">
                  <a16:creationId xmlns:a16="http://schemas.microsoft.com/office/drawing/2014/main" id="{A543B726-27C8-4C1A-B36F-F5C9919BBB20}"/>
                </a:ext>
              </a:extLst>
            </p:cNvPr>
            <p:cNvSpPr/>
            <p:nvPr/>
          </p:nvSpPr>
          <p:spPr>
            <a:xfrm>
              <a:off x="2248381" y="539533"/>
              <a:ext cx="107076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2" name="bk object 51">
              <a:extLst>
                <a:ext uri="{FF2B5EF4-FFF2-40B4-BE49-F238E27FC236}">
                  <a16:creationId xmlns:a16="http://schemas.microsoft.com/office/drawing/2014/main" id="{E35BCE94-E0BC-4BC7-B624-116D301DD932}"/>
                </a:ext>
              </a:extLst>
            </p:cNvPr>
            <p:cNvSpPr/>
            <p:nvPr/>
          </p:nvSpPr>
          <p:spPr>
            <a:xfrm>
              <a:off x="2569586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3" name="bk object 52">
              <a:extLst>
                <a:ext uri="{FF2B5EF4-FFF2-40B4-BE49-F238E27FC236}">
                  <a16:creationId xmlns:a16="http://schemas.microsoft.com/office/drawing/2014/main" id="{91541764-9C83-4062-A1AE-01ABBE768C14}"/>
                </a:ext>
              </a:extLst>
            </p:cNvPr>
            <p:cNvSpPr/>
            <p:nvPr/>
          </p:nvSpPr>
          <p:spPr>
            <a:xfrm>
              <a:off x="2890791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4" name="bk object 53">
              <a:extLst>
                <a:ext uri="{FF2B5EF4-FFF2-40B4-BE49-F238E27FC236}">
                  <a16:creationId xmlns:a16="http://schemas.microsoft.com/office/drawing/2014/main" id="{548A31D2-C2AC-407A-B001-3585E2512718}"/>
                </a:ext>
              </a:extLst>
            </p:cNvPr>
            <p:cNvSpPr/>
            <p:nvPr/>
          </p:nvSpPr>
          <p:spPr>
            <a:xfrm>
              <a:off x="0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5" name="bk object 54">
              <a:extLst>
                <a:ext uri="{FF2B5EF4-FFF2-40B4-BE49-F238E27FC236}">
                  <a16:creationId xmlns:a16="http://schemas.microsoft.com/office/drawing/2014/main" id="{C962DD47-D1F5-4A62-85C2-BA43E69BE505}"/>
                </a:ext>
              </a:extLst>
            </p:cNvPr>
            <p:cNvSpPr/>
            <p:nvPr/>
          </p:nvSpPr>
          <p:spPr>
            <a:xfrm>
              <a:off x="321172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6" name="bk object 55">
              <a:extLst>
                <a:ext uri="{FF2B5EF4-FFF2-40B4-BE49-F238E27FC236}">
                  <a16:creationId xmlns:a16="http://schemas.microsoft.com/office/drawing/2014/main" id="{89120AC4-AFBE-476F-AF48-745B4495FEE8}"/>
                </a:ext>
              </a:extLst>
            </p:cNvPr>
            <p:cNvSpPr/>
            <p:nvPr/>
          </p:nvSpPr>
          <p:spPr>
            <a:xfrm>
              <a:off x="642367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7" name="bk object 56">
              <a:extLst>
                <a:ext uri="{FF2B5EF4-FFF2-40B4-BE49-F238E27FC236}">
                  <a16:creationId xmlns:a16="http://schemas.microsoft.com/office/drawing/2014/main" id="{7FE0630D-ADA9-4DCF-97F0-952F8B181D5D}"/>
                </a:ext>
              </a:extLst>
            </p:cNvPr>
            <p:cNvSpPr/>
            <p:nvPr/>
          </p:nvSpPr>
          <p:spPr>
            <a:xfrm>
              <a:off x="963593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8" name="bk object 57">
              <a:extLst>
                <a:ext uri="{FF2B5EF4-FFF2-40B4-BE49-F238E27FC236}">
                  <a16:creationId xmlns:a16="http://schemas.microsoft.com/office/drawing/2014/main" id="{26F03B00-73A5-4976-BE23-AAB895631325}"/>
                </a:ext>
              </a:extLst>
            </p:cNvPr>
            <p:cNvSpPr/>
            <p:nvPr/>
          </p:nvSpPr>
          <p:spPr>
            <a:xfrm>
              <a:off x="1284798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9" name="bk object 58">
              <a:extLst>
                <a:ext uri="{FF2B5EF4-FFF2-40B4-BE49-F238E27FC236}">
                  <a16:creationId xmlns:a16="http://schemas.microsoft.com/office/drawing/2014/main" id="{563E3790-5C9E-4A76-8FAC-81D3C7575EDD}"/>
                </a:ext>
              </a:extLst>
            </p:cNvPr>
            <p:cNvSpPr/>
            <p:nvPr/>
          </p:nvSpPr>
          <p:spPr>
            <a:xfrm>
              <a:off x="11563174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0" name="bk object 59">
              <a:extLst>
                <a:ext uri="{FF2B5EF4-FFF2-40B4-BE49-F238E27FC236}">
                  <a16:creationId xmlns:a16="http://schemas.microsoft.com/office/drawing/2014/main" id="{4D0125A5-B090-49C3-849C-5302CFDE4EC7}"/>
                </a:ext>
              </a:extLst>
            </p:cNvPr>
            <p:cNvSpPr/>
            <p:nvPr/>
          </p:nvSpPr>
          <p:spPr>
            <a:xfrm>
              <a:off x="11884369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1" name="bk object 60">
              <a:extLst>
                <a:ext uri="{FF2B5EF4-FFF2-40B4-BE49-F238E27FC236}">
                  <a16:creationId xmlns:a16="http://schemas.microsoft.com/office/drawing/2014/main" id="{A5CB33C3-7B43-4D9E-9768-21DE36A1279D}"/>
                </a:ext>
              </a:extLst>
            </p:cNvPr>
            <p:cNvSpPr/>
            <p:nvPr/>
          </p:nvSpPr>
          <p:spPr>
            <a:xfrm>
              <a:off x="12205575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2" name="bk object 61">
              <a:extLst>
                <a:ext uri="{FF2B5EF4-FFF2-40B4-BE49-F238E27FC236}">
                  <a16:creationId xmlns:a16="http://schemas.microsoft.com/office/drawing/2014/main" id="{60281906-F24E-4B38-9762-68F790C3A9BD}"/>
                </a:ext>
              </a:extLst>
            </p:cNvPr>
            <p:cNvSpPr/>
            <p:nvPr/>
          </p:nvSpPr>
          <p:spPr>
            <a:xfrm>
              <a:off x="12526757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3" name="Rectangle 139">
              <a:extLst>
                <a:ext uri="{FF2B5EF4-FFF2-40B4-BE49-F238E27FC236}">
                  <a16:creationId xmlns:a16="http://schemas.microsoft.com/office/drawing/2014/main" id="{35775AC9-2A66-4CBC-9217-5FC20401686D}"/>
                </a:ext>
              </a:extLst>
            </p:cNvPr>
            <p:cNvSpPr/>
            <p:nvPr/>
          </p:nvSpPr>
          <p:spPr>
            <a:xfrm>
              <a:off x="12826047" y="3433"/>
              <a:ext cx="109890" cy="750346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4" name="Rectangle 140">
              <a:extLst>
                <a:ext uri="{FF2B5EF4-FFF2-40B4-BE49-F238E27FC236}">
                  <a16:creationId xmlns:a16="http://schemas.microsoft.com/office/drawing/2014/main" id="{C58599CC-EA88-492A-89EF-8C8AE5054E04}"/>
                </a:ext>
              </a:extLst>
            </p:cNvPr>
            <p:cNvSpPr/>
            <p:nvPr/>
          </p:nvSpPr>
          <p:spPr>
            <a:xfrm>
              <a:off x="13148848" y="540866"/>
              <a:ext cx="106456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5" name="Rectangle 141">
              <a:extLst>
                <a:ext uri="{FF2B5EF4-FFF2-40B4-BE49-F238E27FC236}">
                  <a16:creationId xmlns:a16="http://schemas.microsoft.com/office/drawing/2014/main" id="{F1EA29D8-EB12-4A7B-9005-1133A249D34C}"/>
                </a:ext>
              </a:extLst>
            </p:cNvPr>
            <p:cNvSpPr/>
            <p:nvPr/>
          </p:nvSpPr>
          <p:spPr>
            <a:xfrm>
              <a:off x="13468218" y="540866"/>
              <a:ext cx="109890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6" name="Rectangle 142">
              <a:extLst>
                <a:ext uri="{FF2B5EF4-FFF2-40B4-BE49-F238E27FC236}">
                  <a16:creationId xmlns:a16="http://schemas.microsoft.com/office/drawing/2014/main" id="{B636DFA2-FF2B-4575-B329-F7543592E224}"/>
                </a:ext>
              </a:extLst>
            </p:cNvPr>
            <p:cNvSpPr/>
            <p:nvPr/>
          </p:nvSpPr>
          <p:spPr>
            <a:xfrm>
              <a:off x="13791020" y="540866"/>
              <a:ext cx="106456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7" name="Rectangle 143">
              <a:extLst>
                <a:ext uri="{FF2B5EF4-FFF2-40B4-BE49-F238E27FC236}">
                  <a16:creationId xmlns:a16="http://schemas.microsoft.com/office/drawing/2014/main" id="{F7D5BACD-C769-4D2B-8CEF-33772DFA7D97}"/>
                </a:ext>
              </a:extLst>
            </p:cNvPr>
            <p:cNvSpPr/>
            <p:nvPr/>
          </p:nvSpPr>
          <p:spPr>
            <a:xfrm>
              <a:off x="14113822" y="540866"/>
              <a:ext cx="106456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8" name="Freeform 144">
              <a:extLst>
                <a:ext uri="{FF2B5EF4-FFF2-40B4-BE49-F238E27FC236}">
                  <a16:creationId xmlns:a16="http://schemas.microsoft.com/office/drawing/2014/main" id="{4B753602-5D77-43C2-B403-A2940873A8A1}"/>
                </a:ext>
              </a:extLst>
            </p:cNvPr>
            <p:cNvSpPr/>
            <p:nvPr/>
          </p:nvSpPr>
          <p:spPr>
            <a:xfrm>
              <a:off x="14003931" y="3433"/>
              <a:ext cx="322803" cy="430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0"/>
                  </a:lnTo>
                  <a:lnTo>
                    <a:pt x="0" y="5335"/>
                  </a:lnTo>
                  <a:lnTo>
                    <a:pt x="7353" y="5335"/>
                  </a:lnTo>
                  <a:lnTo>
                    <a:pt x="7353" y="21600"/>
                  </a:lnTo>
                  <a:lnTo>
                    <a:pt x="14477" y="21600"/>
                  </a:lnTo>
                  <a:lnTo>
                    <a:pt x="14477" y="5335"/>
                  </a:lnTo>
                  <a:lnTo>
                    <a:pt x="21600" y="5335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9" name="Rectangle 145">
              <a:extLst>
                <a:ext uri="{FF2B5EF4-FFF2-40B4-BE49-F238E27FC236}">
                  <a16:creationId xmlns:a16="http://schemas.microsoft.com/office/drawing/2014/main" id="{1B0469BD-938C-4A3E-B5E0-A61A2A256CC9}"/>
                </a:ext>
              </a:extLst>
            </p:cNvPr>
            <p:cNvSpPr/>
            <p:nvPr/>
          </p:nvSpPr>
          <p:spPr>
            <a:xfrm>
              <a:off x="14433190" y="3433"/>
              <a:ext cx="106456" cy="750346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0" name="Freeform 146">
              <a:extLst>
                <a:ext uri="{FF2B5EF4-FFF2-40B4-BE49-F238E27FC236}">
                  <a16:creationId xmlns:a16="http://schemas.microsoft.com/office/drawing/2014/main" id="{EDC0440C-A98F-48D5-93E5-B8657A69A68E}"/>
                </a:ext>
              </a:extLst>
            </p:cNvPr>
            <p:cNvSpPr/>
            <p:nvPr/>
          </p:nvSpPr>
          <p:spPr>
            <a:xfrm>
              <a:off x="13148848" y="3433"/>
              <a:ext cx="319369" cy="430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916" y="10671"/>
                  </a:moveTo>
                  <a:lnTo>
                    <a:pt x="7200" y="10671"/>
                  </a:lnTo>
                  <a:lnTo>
                    <a:pt x="7200" y="5335"/>
                  </a:lnTo>
                  <a:lnTo>
                    <a:pt x="11613" y="5335"/>
                  </a:lnTo>
                  <a:lnTo>
                    <a:pt x="12310" y="5508"/>
                  </a:lnTo>
                  <a:lnTo>
                    <a:pt x="13471" y="6196"/>
                  </a:lnTo>
                  <a:lnTo>
                    <a:pt x="14168" y="7057"/>
                  </a:lnTo>
                  <a:lnTo>
                    <a:pt x="14400" y="7401"/>
                  </a:lnTo>
                  <a:lnTo>
                    <a:pt x="14400" y="8606"/>
                  </a:lnTo>
                  <a:lnTo>
                    <a:pt x="14168" y="9122"/>
                  </a:lnTo>
                  <a:lnTo>
                    <a:pt x="13471" y="9982"/>
                  </a:lnTo>
                  <a:lnTo>
                    <a:pt x="12310" y="10499"/>
                  </a:lnTo>
                  <a:lnTo>
                    <a:pt x="11613" y="10671"/>
                  </a:lnTo>
                  <a:lnTo>
                    <a:pt x="10916" y="10671"/>
                  </a:lnTo>
                  <a:close/>
                  <a:moveTo>
                    <a:pt x="10916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7200" y="21600"/>
                  </a:lnTo>
                  <a:lnTo>
                    <a:pt x="7200" y="16006"/>
                  </a:lnTo>
                  <a:lnTo>
                    <a:pt x="10916" y="16006"/>
                  </a:lnTo>
                  <a:lnTo>
                    <a:pt x="13006" y="15834"/>
                  </a:lnTo>
                  <a:lnTo>
                    <a:pt x="15097" y="15490"/>
                  </a:lnTo>
                  <a:lnTo>
                    <a:pt x="16955" y="14629"/>
                  </a:lnTo>
                  <a:lnTo>
                    <a:pt x="18581" y="13769"/>
                  </a:lnTo>
                  <a:lnTo>
                    <a:pt x="19974" y="12564"/>
                  </a:lnTo>
                  <a:lnTo>
                    <a:pt x="20903" y="11187"/>
                  </a:lnTo>
                  <a:lnTo>
                    <a:pt x="21600" y="9638"/>
                  </a:lnTo>
                  <a:lnTo>
                    <a:pt x="21600" y="6368"/>
                  </a:lnTo>
                  <a:lnTo>
                    <a:pt x="20903" y="4819"/>
                  </a:lnTo>
                  <a:lnTo>
                    <a:pt x="19974" y="3614"/>
                  </a:lnTo>
                  <a:lnTo>
                    <a:pt x="18581" y="2410"/>
                  </a:lnTo>
                  <a:lnTo>
                    <a:pt x="16955" y="1377"/>
                  </a:lnTo>
                  <a:lnTo>
                    <a:pt x="15097" y="688"/>
                  </a:lnTo>
                  <a:lnTo>
                    <a:pt x="13006" y="172"/>
                  </a:lnTo>
                  <a:lnTo>
                    <a:pt x="10916" y="0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1" name="Freeform 149">
              <a:extLst>
                <a:ext uri="{FF2B5EF4-FFF2-40B4-BE49-F238E27FC236}">
                  <a16:creationId xmlns:a16="http://schemas.microsoft.com/office/drawing/2014/main" id="{6604A26A-9FD6-4A36-AEBA-381216895184}"/>
                </a:ext>
              </a:extLst>
            </p:cNvPr>
            <p:cNvSpPr/>
            <p:nvPr/>
          </p:nvSpPr>
          <p:spPr>
            <a:xfrm>
              <a:off x="13547201" y="0"/>
              <a:ext cx="367445" cy="4344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516" y="21600"/>
                  </a:moveTo>
                  <a:lnTo>
                    <a:pt x="10093" y="21429"/>
                  </a:lnTo>
                  <a:lnTo>
                    <a:pt x="7873" y="20746"/>
                  </a:lnTo>
                  <a:lnTo>
                    <a:pt x="6662" y="20405"/>
                  </a:lnTo>
                  <a:lnTo>
                    <a:pt x="5652" y="19892"/>
                  </a:lnTo>
                  <a:lnTo>
                    <a:pt x="4643" y="19124"/>
                  </a:lnTo>
                  <a:lnTo>
                    <a:pt x="2826" y="17587"/>
                  </a:lnTo>
                  <a:lnTo>
                    <a:pt x="2019" y="16734"/>
                  </a:lnTo>
                  <a:lnTo>
                    <a:pt x="1413" y="15880"/>
                  </a:lnTo>
                  <a:lnTo>
                    <a:pt x="807" y="14855"/>
                  </a:lnTo>
                  <a:lnTo>
                    <a:pt x="404" y="13831"/>
                  </a:lnTo>
                  <a:lnTo>
                    <a:pt x="0" y="11782"/>
                  </a:lnTo>
                  <a:lnTo>
                    <a:pt x="0" y="9733"/>
                  </a:lnTo>
                  <a:lnTo>
                    <a:pt x="404" y="7684"/>
                  </a:lnTo>
                  <a:lnTo>
                    <a:pt x="807" y="6659"/>
                  </a:lnTo>
                  <a:lnTo>
                    <a:pt x="1413" y="5635"/>
                  </a:lnTo>
                  <a:lnTo>
                    <a:pt x="2019" y="4781"/>
                  </a:lnTo>
                  <a:lnTo>
                    <a:pt x="2826" y="3927"/>
                  </a:lnTo>
                  <a:lnTo>
                    <a:pt x="4643" y="2391"/>
                  </a:lnTo>
                  <a:lnTo>
                    <a:pt x="5652" y="1878"/>
                  </a:lnTo>
                  <a:lnTo>
                    <a:pt x="6662" y="1195"/>
                  </a:lnTo>
                  <a:lnTo>
                    <a:pt x="7873" y="854"/>
                  </a:lnTo>
                  <a:lnTo>
                    <a:pt x="10093" y="171"/>
                  </a:lnTo>
                  <a:lnTo>
                    <a:pt x="12516" y="0"/>
                  </a:lnTo>
                  <a:lnTo>
                    <a:pt x="14938" y="171"/>
                  </a:lnTo>
                  <a:lnTo>
                    <a:pt x="18572" y="1195"/>
                  </a:lnTo>
                  <a:lnTo>
                    <a:pt x="19581" y="1878"/>
                  </a:lnTo>
                  <a:lnTo>
                    <a:pt x="20591" y="2391"/>
                  </a:lnTo>
                  <a:lnTo>
                    <a:pt x="21600" y="3244"/>
                  </a:lnTo>
                  <a:lnTo>
                    <a:pt x="17159" y="7001"/>
                  </a:lnTo>
                  <a:lnTo>
                    <a:pt x="16150" y="6318"/>
                  </a:lnTo>
                  <a:lnTo>
                    <a:pt x="14938" y="5806"/>
                  </a:lnTo>
                  <a:lnTo>
                    <a:pt x="13727" y="5464"/>
                  </a:lnTo>
                  <a:lnTo>
                    <a:pt x="12516" y="5293"/>
                  </a:lnTo>
                  <a:lnTo>
                    <a:pt x="11305" y="5464"/>
                  </a:lnTo>
                  <a:lnTo>
                    <a:pt x="10093" y="5806"/>
                  </a:lnTo>
                  <a:lnTo>
                    <a:pt x="9084" y="6318"/>
                  </a:lnTo>
                  <a:lnTo>
                    <a:pt x="8075" y="7001"/>
                  </a:lnTo>
                  <a:lnTo>
                    <a:pt x="7267" y="7855"/>
                  </a:lnTo>
                  <a:lnTo>
                    <a:pt x="6662" y="8708"/>
                  </a:lnTo>
                  <a:lnTo>
                    <a:pt x="6258" y="9733"/>
                  </a:lnTo>
                  <a:lnTo>
                    <a:pt x="6258" y="11782"/>
                  </a:lnTo>
                  <a:lnTo>
                    <a:pt x="6662" y="12806"/>
                  </a:lnTo>
                  <a:lnTo>
                    <a:pt x="7267" y="13831"/>
                  </a:lnTo>
                  <a:lnTo>
                    <a:pt x="8075" y="14514"/>
                  </a:lnTo>
                  <a:lnTo>
                    <a:pt x="9084" y="15197"/>
                  </a:lnTo>
                  <a:lnTo>
                    <a:pt x="10093" y="15709"/>
                  </a:lnTo>
                  <a:lnTo>
                    <a:pt x="11305" y="16051"/>
                  </a:lnTo>
                  <a:lnTo>
                    <a:pt x="12516" y="16221"/>
                  </a:lnTo>
                  <a:lnTo>
                    <a:pt x="13727" y="16051"/>
                  </a:lnTo>
                  <a:lnTo>
                    <a:pt x="14938" y="15709"/>
                  </a:lnTo>
                  <a:lnTo>
                    <a:pt x="16150" y="15197"/>
                  </a:lnTo>
                  <a:lnTo>
                    <a:pt x="17159" y="14514"/>
                  </a:lnTo>
                  <a:lnTo>
                    <a:pt x="21600" y="18270"/>
                  </a:lnTo>
                  <a:lnTo>
                    <a:pt x="20591" y="19124"/>
                  </a:lnTo>
                  <a:lnTo>
                    <a:pt x="19581" y="19892"/>
                  </a:lnTo>
                  <a:lnTo>
                    <a:pt x="18572" y="20405"/>
                  </a:lnTo>
                  <a:lnTo>
                    <a:pt x="14938" y="21429"/>
                  </a:lnTo>
                  <a:lnTo>
                    <a:pt x="12516" y="21600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7402966"/>
      </p:ext>
    </p:extLst>
  </p:cSld>
  <p:clrMapOvr>
    <a:masterClrMapping/>
  </p:clrMapOvr>
  <p:transition spd="slow">
    <p:push dir="u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B2C4B38-A00C-4986-B54C-F663E512B8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>
                <a:latin typeface="Circe Bold" panose="020B0602020203020203" pitchFamily="34" charset="-52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B7CA7D0-90DE-4551-9584-7A0EFA7937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irce Light" panose="020B0402020203020203" pitchFamily="34" charset="-52"/>
              </a:defRPr>
            </a:lvl1pPr>
            <a:lvl2pPr>
              <a:defRPr>
                <a:latin typeface="Circe Light" panose="020B0402020203020203" pitchFamily="34" charset="-52"/>
              </a:defRPr>
            </a:lvl2pPr>
            <a:lvl3pPr>
              <a:defRPr>
                <a:latin typeface="Circe Light" panose="020B0402020203020203" pitchFamily="34" charset="-52"/>
              </a:defRPr>
            </a:lvl3pPr>
            <a:lvl4pPr>
              <a:defRPr>
                <a:latin typeface="Circe Light" panose="020B0402020203020203" pitchFamily="34" charset="-52"/>
              </a:defRPr>
            </a:lvl4pPr>
            <a:lvl5pPr>
              <a:defRPr>
                <a:latin typeface="Circe Light" panose="020B0402020203020203" pitchFamily="34" charset="-52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8973AB2-5FD8-4AAD-8E45-6B9A404F6E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fld id="{B3633444-5837-4877-AC07-ACC363355DAE}" type="datetime1">
              <a:rPr lang="ru-RU" smtClean="0"/>
              <a:pPr>
                <a:defRPr/>
              </a:pPr>
              <a:t>10.0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C3CED42-C24D-4E32-B0FC-10B7312E29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1AB82A5-467C-4B0E-9DDD-D084603D89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fld id="{9255815B-AD1E-49D8-8E6F-989E26A7EBA1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  <p:grpSp>
        <p:nvGrpSpPr>
          <p:cNvPr id="62" name="Группа 69">
            <a:extLst>
              <a:ext uri="{FF2B5EF4-FFF2-40B4-BE49-F238E27FC236}">
                <a16:creationId xmlns:a16="http://schemas.microsoft.com/office/drawing/2014/main" id="{15A814D4-9CF7-4379-9243-43646E0C67EF}"/>
              </a:ext>
            </a:extLst>
          </p:cNvPr>
          <p:cNvGrpSpPr/>
          <p:nvPr userDrawn="1"/>
        </p:nvGrpSpPr>
        <p:grpSpPr>
          <a:xfrm>
            <a:off x="1188976" y="6403911"/>
            <a:ext cx="9814048" cy="457574"/>
            <a:chOff x="0" y="0"/>
            <a:chExt cx="16167043" cy="753778"/>
          </a:xfrm>
          <a:solidFill>
            <a:srgbClr val="004E6B"/>
          </a:solidFill>
        </p:grpSpPr>
        <p:sp>
          <p:nvSpPr>
            <p:cNvPr id="63" name="bk object 17">
              <a:extLst>
                <a:ext uri="{FF2B5EF4-FFF2-40B4-BE49-F238E27FC236}">
                  <a16:creationId xmlns:a16="http://schemas.microsoft.com/office/drawing/2014/main" id="{2A8BE8FE-CED2-4E99-AF1C-0B694426E010}"/>
                </a:ext>
              </a:extLst>
            </p:cNvPr>
            <p:cNvSpPr/>
            <p:nvPr/>
          </p:nvSpPr>
          <p:spPr>
            <a:xfrm>
              <a:off x="14775181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4" name="bk object 18">
              <a:extLst>
                <a:ext uri="{FF2B5EF4-FFF2-40B4-BE49-F238E27FC236}">
                  <a16:creationId xmlns:a16="http://schemas.microsoft.com/office/drawing/2014/main" id="{7BF8FA5F-98D0-47A4-A9F6-3F1E9AEFE63B}"/>
                </a:ext>
              </a:extLst>
            </p:cNvPr>
            <p:cNvSpPr/>
            <p:nvPr/>
          </p:nvSpPr>
          <p:spPr>
            <a:xfrm>
              <a:off x="15096387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5" name="bk object 19">
              <a:extLst>
                <a:ext uri="{FF2B5EF4-FFF2-40B4-BE49-F238E27FC236}">
                  <a16:creationId xmlns:a16="http://schemas.microsoft.com/office/drawing/2014/main" id="{8465BDA5-CBC7-405D-AA6F-340062E4CFD0}"/>
                </a:ext>
              </a:extLst>
            </p:cNvPr>
            <p:cNvSpPr/>
            <p:nvPr/>
          </p:nvSpPr>
          <p:spPr>
            <a:xfrm>
              <a:off x="15417570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6" name="bk object 20">
              <a:extLst>
                <a:ext uri="{FF2B5EF4-FFF2-40B4-BE49-F238E27FC236}">
                  <a16:creationId xmlns:a16="http://schemas.microsoft.com/office/drawing/2014/main" id="{5C574728-6E85-414B-A4C2-8E58D3169D8E}"/>
                </a:ext>
              </a:extLst>
            </p:cNvPr>
            <p:cNvSpPr/>
            <p:nvPr/>
          </p:nvSpPr>
          <p:spPr>
            <a:xfrm>
              <a:off x="15738786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7" name="bk object 21">
              <a:extLst>
                <a:ext uri="{FF2B5EF4-FFF2-40B4-BE49-F238E27FC236}">
                  <a16:creationId xmlns:a16="http://schemas.microsoft.com/office/drawing/2014/main" id="{E2B3573D-4CA6-4D66-A5EC-D50F2A95B211}"/>
                </a:ext>
              </a:extLst>
            </p:cNvPr>
            <p:cNvSpPr/>
            <p:nvPr/>
          </p:nvSpPr>
          <p:spPr>
            <a:xfrm>
              <a:off x="16059980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8" name="bk object 22">
              <a:extLst>
                <a:ext uri="{FF2B5EF4-FFF2-40B4-BE49-F238E27FC236}">
                  <a16:creationId xmlns:a16="http://schemas.microsoft.com/office/drawing/2014/main" id="{AE6279C9-218D-4D57-B7F5-DAAF599873A5}"/>
                </a:ext>
              </a:extLst>
            </p:cNvPr>
            <p:cNvSpPr/>
            <p:nvPr/>
          </p:nvSpPr>
          <p:spPr>
            <a:xfrm>
              <a:off x="9635978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9" name="bk object 23">
              <a:extLst>
                <a:ext uri="{FF2B5EF4-FFF2-40B4-BE49-F238E27FC236}">
                  <a16:creationId xmlns:a16="http://schemas.microsoft.com/office/drawing/2014/main" id="{CCDD3290-A778-4862-8EBE-D1CACA656EF1}"/>
                </a:ext>
              </a:extLst>
            </p:cNvPr>
            <p:cNvSpPr/>
            <p:nvPr/>
          </p:nvSpPr>
          <p:spPr>
            <a:xfrm>
              <a:off x="9957182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0" name="bk object 24">
              <a:extLst>
                <a:ext uri="{FF2B5EF4-FFF2-40B4-BE49-F238E27FC236}">
                  <a16:creationId xmlns:a16="http://schemas.microsoft.com/office/drawing/2014/main" id="{34FEC433-58A9-4AE4-A1D8-05A2D38DF1A7}"/>
                </a:ext>
              </a:extLst>
            </p:cNvPr>
            <p:cNvSpPr/>
            <p:nvPr/>
          </p:nvSpPr>
          <p:spPr>
            <a:xfrm>
              <a:off x="10278377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1" name="bk object 25">
              <a:extLst>
                <a:ext uri="{FF2B5EF4-FFF2-40B4-BE49-F238E27FC236}">
                  <a16:creationId xmlns:a16="http://schemas.microsoft.com/office/drawing/2014/main" id="{15FAF0DF-693A-4C98-95C0-1C30D32000AC}"/>
                </a:ext>
              </a:extLst>
            </p:cNvPr>
            <p:cNvSpPr/>
            <p:nvPr/>
          </p:nvSpPr>
          <p:spPr>
            <a:xfrm>
              <a:off x="10599570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2" name="bk object 26">
              <a:extLst>
                <a:ext uri="{FF2B5EF4-FFF2-40B4-BE49-F238E27FC236}">
                  <a16:creationId xmlns:a16="http://schemas.microsoft.com/office/drawing/2014/main" id="{5D009F54-CDB0-4D6C-83C6-669412D19DF0}"/>
                </a:ext>
              </a:extLst>
            </p:cNvPr>
            <p:cNvSpPr/>
            <p:nvPr/>
          </p:nvSpPr>
          <p:spPr>
            <a:xfrm>
              <a:off x="10920765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3" name="bk object 27">
              <a:extLst>
                <a:ext uri="{FF2B5EF4-FFF2-40B4-BE49-F238E27FC236}">
                  <a16:creationId xmlns:a16="http://schemas.microsoft.com/office/drawing/2014/main" id="{D1AD6CBE-7F81-464B-B97D-7FEA2BE3401A}"/>
                </a:ext>
              </a:extLst>
            </p:cNvPr>
            <p:cNvSpPr/>
            <p:nvPr/>
          </p:nvSpPr>
          <p:spPr>
            <a:xfrm>
              <a:off x="11241981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4" name="bk object 28">
              <a:extLst>
                <a:ext uri="{FF2B5EF4-FFF2-40B4-BE49-F238E27FC236}">
                  <a16:creationId xmlns:a16="http://schemas.microsoft.com/office/drawing/2014/main" id="{BA9363E6-C713-4728-B7BE-FF576291DA92}"/>
                </a:ext>
              </a:extLst>
            </p:cNvPr>
            <p:cNvSpPr/>
            <p:nvPr/>
          </p:nvSpPr>
          <p:spPr>
            <a:xfrm>
              <a:off x="8029985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5" name="bk object 29">
              <a:extLst>
                <a:ext uri="{FF2B5EF4-FFF2-40B4-BE49-F238E27FC236}">
                  <a16:creationId xmlns:a16="http://schemas.microsoft.com/office/drawing/2014/main" id="{705666EE-35DC-49BA-882C-CE56DBC4C5F2}"/>
                </a:ext>
              </a:extLst>
            </p:cNvPr>
            <p:cNvSpPr/>
            <p:nvPr/>
          </p:nvSpPr>
          <p:spPr>
            <a:xfrm>
              <a:off x="8351179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6" name="bk object 30">
              <a:extLst>
                <a:ext uri="{FF2B5EF4-FFF2-40B4-BE49-F238E27FC236}">
                  <a16:creationId xmlns:a16="http://schemas.microsoft.com/office/drawing/2014/main" id="{5F7CF055-ECEE-4A61-A18E-367B7D2A8E51}"/>
                </a:ext>
              </a:extLst>
            </p:cNvPr>
            <p:cNvSpPr/>
            <p:nvPr/>
          </p:nvSpPr>
          <p:spPr>
            <a:xfrm>
              <a:off x="8672372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7" name="bk object 31">
              <a:extLst>
                <a:ext uri="{FF2B5EF4-FFF2-40B4-BE49-F238E27FC236}">
                  <a16:creationId xmlns:a16="http://schemas.microsoft.com/office/drawing/2014/main" id="{12961CBB-3C6E-4891-AA72-6EABB07D18CE}"/>
                </a:ext>
              </a:extLst>
            </p:cNvPr>
            <p:cNvSpPr/>
            <p:nvPr/>
          </p:nvSpPr>
          <p:spPr>
            <a:xfrm>
              <a:off x="8993589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8" name="bk object 32">
              <a:extLst>
                <a:ext uri="{FF2B5EF4-FFF2-40B4-BE49-F238E27FC236}">
                  <a16:creationId xmlns:a16="http://schemas.microsoft.com/office/drawing/2014/main" id="{6EAEE011-4149-405C-8759-FC7997ED0D90}"/>
                </a:ext>
              </a:extLst>
            </p:cNvPr>
            <p:cNvSpPr/>
            <p:nvPr/>
          </p:nvSpPr>
          <p:spPr>
            <a:xfrm>
              <a:off x="9314783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9" name="bk object 33">
              <a:extLst>
                <a:ext uri="{FF2B5EF4-FFF2-40B4-BE49-F238E27FC236}">
                  <a16:creationId xmlns:a16="http://schemas.microsoft.com/office/drawing/2014/main" id="{92CF6898-B583-4719-BA00-EA7EFCF22A44}"/>
                </a:ext>
              </a:extLst>
            </p:cNvPr>
            <p:cNvSpPr/>
            <p:nvPr/>
          </p:nvSpPr>
          <p:spPr>
            <a:xfrm>
              <a:off x="6423971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0" name="bk object 34">
              <a:extLst>
                <a:ext uri="{FF2B5EF4-FFF2-40B4-BE49-F238E27FC236}">
                  <a16:creationId xmlns:a16="http://schemas.microsoft.com/office/drawing/2014/main" id="{51B4E716-5655-4EF1-89AA-9B56A9576258}"/>
                </a:ext>
              </a:extLst>
            </p:cNvPr>
            <p:cNvSpPr/>
            <p:nvPr/>
          </p:nvSpPr>
          <p:spPr>
            <a:xfrm>
              <a:off x="6745186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1" name="bk object 35">
              <a:extLst>
                <a:ext uri="{FF2B5EF4-FFF2-40B4-BE49-F238E27FC236}">
                  <a16:creationId xmlns:a16="http://schemas.microsoft.com/office/drawing/2014/main" id="{961A943A-5186-4329-8704-CB703DCF4401}"/>
                </a:ext>
              </a:extLst>
            </p:cNvPr>
            <p:cNvSpPr/>
            <p:nvPr/>
          </p:nvSpPr>
          <p:spPr>
            <a:xfrm>
              <a:off x="7066381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2" name="bk object 36">
              <a:extLst>
                <a:ext uri="{FF2B5EF4-FFF2-40B4-BE49-F238E27FC236}">
                  <a16:creationId xmlns:a16="http://schemas.microsoft.com/office/drawing/2014/main" id="{7335B247-FABD-4179-8CAE-D4B5EAA254B4}"/>
                </a:ext>
              </a:extLst>
            </p:cNvPr>
            <p:cNvSpPr/>
            <p:nvPr/>
          </p:nvSpPr>
          <p:spPr>
            <a:xfrm>
              <a:off x="7387554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3" name="bk object 37">
              <a:extLst>
                <a:ext uri="{FF2B5EF4-FFF2-40B4-BE49-F238E27FC236}">
                  <a16:creationId xmlns:a16="http://schemas.microsoft.com/office/drawing/2014/main" id="{38451DA1-C0AE-402E-B206-35EFBB02B4CB}"/>
                </a:ext>
              </a:extLst>
            </p:cNvPr>
            <p:cNvSpPr/>
            <p:nvPr/>
          </p:nvSpPr>
          <p:spPr>
            <a:xfrm>
              <a:off x="7708790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4" name="bk object 38">
              <a:extLst>
                <a:ext uri="{FF2B5EF4-FFF2-40B4-BE49-F238E27FC236}">
                  <a16:creationId xmlns:a16="http://schemas.microsoft.com/office/drawing/2014/main" id="{B42ABDFC-069F-4B46-B84A-6753DCA34AFF}"/>
                </a:ext>
              </a:extLst>
            </p:cNvPr>
            <p:cNvSpPr/>
            <p:nvPr/>
          </p:nvSpPr>
          <p:spPr>
            <a:xfrm>
              <a:off x="4817978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5" name="bk object 39">
              <a:extLst>
                <a:ext uri="{FF2B5EF4-FFF2-40B4-BE49-F238E27FC236}">
                  <a16:creationId xmlns:a16="http://schemas.microsoft.com/office/drawing/2014/main" id="{62A329E3-CC96-4F53-9D2C-3588C3E66836}"/>
                </a:ext>
              </a:extLst>
            </p:cNvPr>
            <p:cNvSpPr/>
            <p:nvPr/>
          </p:nvSpPr>
          <p:spPr>
            <a:xfrm>
              <a:off x="5139172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6" name="bk object 40">
              <a:extLst>
                <a:ext uri="{FF2B5EF4-FFF2-40B4-BE49-F238E27FC236}">
                  <a16:creationId xmlns:a16="http://schemas.microsoft.com/office/drawing/2014/main" id="{65543A4E-BAFE-4D50-ACCE-19BA0A5D4562}"/>
                </a:ext>
              </a:extLst>
            </p:cNvPr>
            <p:cNvSpPr/>
            <p:nvPr/>
          </p:nvSpPr>
          <p:spPr>
            <a:xfrm>
              <a:off x="5460366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7" name="bk object 41">
              <a:extLst>
                <a:ext uri="{FF2B5EF4-FFF2-40B4-BE49-F238E27FC236}">
                  <a16:creationId xmlns:a16="http://schemas.microsoft.com/office/drawing/2014/main" id="{95BF227A-C708-4737-B516-898A86F5B3AB}"/>
                </a:ext>
              </a:extLst>
            </p:cNvPr>
            <p:cNvSpPr/>
            <p:nvPr/>
          </p:nvSpPr>
          <p:spPr>
            <a:xfrm>
              <a:off x="5781561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8" name="bk object 42">
              <a:extLst>
                <a:ext uri="{FF2B5EF4-FFF2-40B4-BE49-F238E27FC236}">
                  <a16:creationId xmlns:a16="http://schemas.microsoft.com/office/drawing/2014/main" id="{9C8B518B-9C34-44A3-B3F4-B11713FF718D}"/>
                </a:ext>
              </a:extLst>
            </p:cNvPr>
            <p:cNvSpPr/>
            <p:nvPr/>
          </p:nvSpPr>
          <p:spPr>
            <a:xfrm>
              <a:off x="6102777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9" name="bk object 43">
              <a:extLst>
                <a:ext uri="{FF2B5EF4-FFF2-40B4-BE49-F238E27FC236}">
                  <a16:creationId xmlns:a16="http://schemas.microsoft.com/office/drawing/2014/main" id="{54A473D7-7F19-42E1-A38A-F1047AF6812C}"/>
                </a:ext>
              </a:extLst>
            </p:cNvPr>
            <p:cNvSpPr/>
            <p:nvPr/>
          </p:nvSpPr>
          <p:spPr>
            <a:xfrm>
              <a:off x="3211985" y="432467"/>
              <a:ext cx="107065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0" name="bk object 44">
              <a:extLst>
                <a:ext uri="{FF2B5EF4-FFF2-40B4-BE49-F238E27FC236}">
                  <a16:creationId xmlns:a16="http://schemas.microsoft.com/office/drawing/2014/main" id="{A2918433-664C-43A6-8DB9-E58C8E998435}"/>
                </a:ext>
              </a:extLst>
            </p:cNvPr>
            <p:cNvSpPr/>
            <p:nvPr/>
          </p:nvSpPr>
          <p:spPr>
            <a:xfrm>
              <a:off x="3533179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1" name="bk object 45">
              <a:extLst>
                <a:ext uri="{FF2B5EF4-FFF2-40B4-BE49-F238E27FC236}">
                  <a16:creationId xmlns:a16="http://schemas.microsoft.com/office/drawing/2014/main" id="{E350B7DC-F762-4CFD-A4BF-15577068FDF0}"/>
                </a:ext>
              </a:extLst>
            </p:cNvPr>
            <p:cNvSpPr/>
            <p:nvPr/>
          </p:nvSpPr>
          <p:spPr>
            <a:xfrm>
              <a:off x="3854374" y="539533"/>
              <a:ext cx="107076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2" name="bk object 46">
              <a:extLst>
                <a:ext uri="{FF2B5EF4-FFF2-40B4-BE49-F238E27FC236}">
                  <a16:creationId xmlns:a16="http://schemas.microsoft.com/office/drawing/2014/main" id="{4BF05D62-B879-484E-8788-929D6D3BA159}"/>
                </a:ext>
              </a:extLst>
            </p:cNvPr>
            <p:cNvSpPr/>
            <p:nvPr/>
          </p:nvSpPr>
          <p:spPr>
            <a:xfrm>
              <a:off x="4175578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3" name="bk object 47">
              <a:extLst>
                <a:ext uri="{FF2B5EF4-FFF2-40B4-BE49-F238E27FC236}">
                  <a16:creationId xmlns:a16="http://schemas.microsoft.com/office/drawing/2014/main" id="{7C423FBD-EF72-4FC4-9059-4DDB412736B5}"/>
                </a:ext>
              </a:extLst>
            </p:cNvPr>
            <p:cNvSpPr/>
            <p:nvPr/>
          </p:nvSpPr>
          <p:spPr>
            <a:xfrm>
              <a:off x="4496784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4" name="bk object 48">
              <a:extLst>
                <a:ext uri="{FF2B5EF4-FFF2-40B4-BE49-F238E27FC236}">
                  <a16:creationId xmlns:a16="http://schemas.microsoft.com/office/drawing/2014/main" id="{62E35890-66EF-4161-9076-4311194E8C6D}"/>
                </a:ext>
              </a:extLst>
            </p:cNvPr>
            <p:cNvSpPr/>
            <p:nvPr/>
          </p:nvSpPr>
          <p:spPr>
            <a:xfrm>
              <a:off x="1605992" y="432467"/>
              <a:ext cx="107065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5" name="bk object 49">
              <a:extLst>
                <a:ext uri="{FF2B5EF4-FFF2-40B4-BE49-F238E27FC236}">
                  <a16:creationId xmlns:a16="http://schemas.microsoft.com/office/drawing/2014/main" id="{6C850991-9C91-4934-BBD0-B7F83FE68226}"/>
                </a:ext>
              </a:extLst>
            </p:cNvPr>
            <p:cNvSpPr/>
            <p:nvPr/>
          </p:nvSpPr>
          <p:spPr>
            <a:xfrm>
              <a:off x="1927186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6" name="bk object 50">
              <a:extLst>
                <a:ext uri="{FF2B5EF4-FFF2-40B4-BE49-F238E27FC236}">
                  <a16:creationId xmlns:a16="http://schemas.microsoft.com/office/drawing/2014/main" id="{9583BF23-C8B8-425D-97B6-EF4B0D5121C8}"/>
                </a:ext>
              </a:extLst>
            </p:cNvPr>
            <p:cNvSpPr/>
            <p:nvPr/>
          </p:nvSpPr>
          <p:spPr>
            <a:xfrm>
              <a:off x="2248381" y="539533"/>
              <a:ext cx="107076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7" name="bk object 51">
              <a:extLst>
                <a:ext uri="{FF2B5EF4-FFF2-40B4-BE49-F238E27FC236}">
                  <a16:creationId xmlns:a16="http://schemas.microsoft.com/office/drawing/2014/main" id="{1758C9F6-4CAB-47F4-9E99-D8CFC0F2B721}"/>
                </a:ext>
              </a:extLst>
            </p:cNvPr>
            <p:cNvSpPr/>
            <p:nvPr/>
          </p:nvSpPr>
          <p:spPr>
            <a:xfrm>
              <a:off x="2569586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8" name="bk object 52">
              <a:extLst>
                <a:ext uri="{FF2B5EF4-FFF2-40B4-BE49-F238E27FC236}">
                  <a16:creationId xmlns:a16="http://schemas.microsoft.com/office/drawing/2014/main" id="{54AFEDF2-E415-4C0E-A887-6B04AF5097B9}"/>
                </a:ext>
              </a:extLst>
            </p:cNvPr>
            <p:cNvSpPr/>
            <p:nvPr/>
          </p:nvSpPr>
          <p:spPr>
            <a:xfrm>
              <a:off x="2890791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9" name="bk object 53">
              <a:extLst>
                <a:ext uri="{FF2B5EF4-FFF2-40B4-BE49-F238E27FC236}">
                  <a16:creationId xmlns:a16="http://schemas.microsoft.com/office/drawing/2014/main" id="{8C7E4D2E-ACD3-4D14-9F09-F304C89CC1B4}"/>
                </a:ext>
              </a:extLst>
            </p:cNvPr>
            <p:cNvSpPr/>
            <p:nvPr/>
          </p:nvSpPr>
          <p:spPr>
            <a:xfrm>
              <a:off x="0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0" name="bk object 54">
              <a:extLst>
                <a:ext uri="{FF2B5EF4-FFF2-40B4-BE49-F238E27FC236}">
                  <a16:creationId xmlns:a16="http://schemas.microsoft.com/office/drawing/2014/main" id="{2ED96D5A-B033-4F34-BDB0-0D880EC297F3}"/>
                </a:ext>
              </a:extLst>
            </p:cNvPr>
            <p:cNvSpPr/>
            <p:nvPr/>
          </p:nvSpPr>
          <p:spPr>
            <a:xfrm>
              <a:off x="321172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1" name="bk object 55">
              <a:extLst>
                <a:ext uri="{FF2B5EF4-FFF2-40B4-BE49-F238E27FC236}">
                  <a16:creationId xmlns:a16="http://schemas.microsoft.com/office/drawing/2014/main" id="{E8B5657F-446E-460C-B502-4F672F983D05}"/>
                </a:ext>
              </a:extLst>
            </p:cNvPr>
            <p:cNvSpPr/>
            <p:nvPr/>
          </p:nvSpPr>
          <p:spPr>
            <a:xfrm>
              <a:off x="642367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2" name="bk object 56">
              <a:extLst>
                <a:ext uri="{FF2B5EF4-FFF2-40B4-BE49-F238E27FC236}">
                  <a16:creationId xmlns:a16="http://schemas.microsoft.com/office/drawing/2014/main" id="{60E8CC1E-679F-4323-A417-7291D3336342}"/>
                </a:ext>
              </a:extLst>
            </p:cNvPr>
            <p:cNvSpPr/>
            <p:nvPr/>
          </p:nvSpPr>
          <p:spPr>
            <a:xfrm>
              <a:off x="963593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3" name="bk object 57">
              <a:extLst>
                <a:ext uri="{FF2B5EF4-FFF2-40B4-BE49-F238E27FC236}">
                  <a16:creationId xmlns:a16="http://schemas.microsoft.com/office/drawing/2014/main" id="{328EA725-D245-41BE-95B7-31778B93C11A}"/>
                </a:ext>
              </a:extLst>
            </p:cNvPr>
            <p:cNvSpPr/>
            <p:nvPr/>
          </p:nvSpPr>
          <p:spPr>
            <a:xfrm>
              <a:off x="1284798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4" name="bk object 58">
              <a:extLst>
                <a:ext uri="{FF2B5EF4-FFF2-40B4-BE49-F238E27FC236}">
                  <a16:creationId xmlns:a16="http://schemas.microsoft.com/office/drawing/2014/main" id="{96A36787-CC70-4B68-BEA9-D19ACA26D431}"/>
                </a:ext>
              </a:extLst>
            </p:cNvPr>
            <p:cNvSpPr/>
            <p:nvPr/>
          </p:nvSpPr>
          <p:spPr>
            <a:xfrm>
              <a:off x="11563174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5" name="bk object 59">
              <a:extLst>
                <a:ext uri="{FF2B5EF4-FFF2-40B4-BE49-F238E27FC236}">
                  <a16:creationId xmlns:a16="http://schemas.microsoft.com/office/drawing/2014/main" id="{365CE5BE-6F67-4C6F-A804-6041D35B1F21}"/>
                </a:ext>
              </a:extLst>
            </p:cNvPr>
            <p:cNvSpPr/>
            <p:nvPr/>
          </p:nvSpPr>
          <p:spPr>
            <a:xfrm>
              <a:off x="11884369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6" name="bk object 60">
              <a:extLst>
                <a:ext uri="{FF2B5EF4-FFF2-40B4-BE49-F238E27FC236}">
                  <a16:creationId xmlns:a16="http://schemas.microsoft.com/office/drawing/2014/main" id="{7149F925-A4FC-4EE6-A636-FD9E5D718B50}"/>
                </a:ext>
              </a:extLst>
            </p:cNvPr>
            <p:cNvSpPr/>
            <p:nvPr/>
          </p:nvSpPr>
          <p:spPr>
            <a:xfrm>
              <a:off x="12205575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7" name="bk object 61">
              <a:extLst>
                <a:ext uri="{FF2B5EF4-FFF2-40B4-BE49-F238E27FC236}">
                  <a16:creationId xmlns:a16="http://schemas.microsoft.com/office/drawing/2014/main" id="{F02C769C-89D9-4F4A-A250-A5B450B7C26A}"/>
                </a:ext>
              </a:extLst>
            </p:cNvPr>
            <p:cNvSpPr/>
            <p:nvPr/>
          </p:nvSpPr>
          <p:spPr>
            <a:xfrm>
              <a:off x="12526757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8" name="Rectangle 139">
              <a:extLst>
                <a:ext uri="{FF2B5EF4-FFF2-40B4-BE49-F238E27FC236}">
                  <a16:creationId xmlns:a16="http://schemas.microsoft.com/office/drawing/2014/main" id="{B1A04EE6-7CB9-490E-82CF-C4A84936B94B}"/>
                </a:ext>
              </a:extLst>
            </p:cNvPr>
            <p:cNvSpPr/>
            <p:nvPr/>
          </p:nvSpPr>
          <p:spPr>
            <a:xfrm>
              <a:off x="12826047" y="3433"/>
              <a:ext cx="109890" cy="750346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9" name="Rectangle 140">
              <a:extLst>
                <a:ext uri="{FF2B5EF4-FFF2-40B4-BE49-F238E27FC236}">
                  <a16:creationId xmlns:a16="http://schemas.microsoft.com/office/drawing/2014/main" id="{6DF2BF44-98B9-45D8-8CCB-852A6915CF9E}"/>
                </a:ext>
              </a:extLst>
            </p:cNvPr>
            <p:cNvSpPr/>
            <p:nvPr/>
          </p:nvSpPr>
          <p:spPr>
            <a:xfrm>
              <a:off x="13148848" y="540866"/>
              <a:ext cx="106456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10" name="Rectangle 141">
              <a:extLst>
                <a:ext uri="{FF2B5EF4-FFF2-40B4-BE49-F238E27FC236}">
                  <a16:creationId xmlns:a16="http://schemas.microsoft.com/office/drawing/2014/main" id="{F046D8D3-8CDF-47CB-96CD-9FB34D7DA9C2}"/>
                </a:ext>
              </a:extLst>
            </p:cNvPr>
            <p:cNvSpPr/>
            <p:nvPr/>
          </p:nvSpPr>
          <p:spPr>
            <a:xfrm>
              <a:off x="13468218" y="540866"/>
              <a:ext cx="109890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11" name="Rectangle 142">
              <a:extLst>
                <a:ext uri="{FF2B5EF4-FFF2-40B4-BE49-F238E27FC236}">
                  <a16:creationId xmlns:a16="http://schemas.microsoft.com/office/drawing/2014/main" id="{06C48D1E-B352-4EEF-AFCA-3FEDF42373E8}"/>
                </a:ext>
              </a:extLst>
            </p:cNvPr>
            <p:cNvSpPr/>
            <p:nvPr/>
          </p:nvSpPr>
          <p:spPr>
            <a:xfrm>
              <a:off x="13791020" y="540866"/>
              <a:ext cx="106456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12" name="Rectangle 143">
              <a:extLst>
                <a:ext uri="{FF2B5EF4-FFF2-40B4-BE49-F238E27FC236}">
                  <a16:creationId xmlns:a16="http://schemas.microsoft.com/office/drawing/2014/main" id="{FDD8A7D4-CC57-41A6-90C0-1036B4FC553F}"/>
                </a:ext>
              </a:extLst>
            </p:cNvPr>
            <p:cNvSpPr/>
            <p:nvPr/>
          </p:nvSpPr>
          <p:spPr>
            <a:xfrm>
              <a:off x="14113822" y="540866"/>
              <a:ext cx="106456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13" name="Freeform 144">
              <a:extLst>
                <a:ext uri="{FF2B5EF4-FFF2-40B4-BE49-F238E27FC236}">
                  <a16:creationId xmlns:a16="http://schemas.microsoft.com/office/drawing/2014/main" id="{B0019DC9-590E-4DAF-AA81-4FC9A7506B22}"/>
                </a:ext>
              </a:extLst>
            </p:cNvPr>
            <p:cNvSpPr/>
            <p:nvPr/>
          </p:nvSpPr>
          <p:spPr>
            <a:xfrm>
              <a:off x="14003931" y="3433"/>
              <a:ext cx="322803" cy="430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0"/>
                  </a:lnTo>
                  <a:lnTo>
                    <a:pt x="0" y="5335"/>
                  </a:lnTo>
                  <a:lnTo>
                    <a:pt x="7353" y="5335"/>
                  </a:lnTo>
                  <a:lnTo>
                    <a:pt x="7353" y="21600"/>
                  </a:lnTo>
                  <a:lnTo>
                    <a:pt x="14477" y="21600"/>
                  </a:lnTo>
                  <a:lnTo>
                    <a:pt x="14477" y="5335"/>
                  </a:lnTo>
                  <a:lnTo>
                    <a:pt x="21600" y="5335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14" name="Rectangle 145">
              <a:extLst>
                <a:ext uri="{FF2B5EF4-FFF2-40B4-BE49-F238E27FC236}">
                  <a16:creationId xmlns:a16="http://schemas.microsoft.com/office/drawing/2014/main" id="{D2AB99C2-6D09-4F99-BDCB-AD6117C5ED13}"/>
                </a:ext>
              </a:extLst>
            </p:cNvPr>
            <p:cNvSpPr/>
            <p:nvPr/>
          </p:nvSpPr>
          <p:spPr>
            <a:xfrm>
              <a:off x="14433190" y="3433"/>
              <a:ext cx="106456" cy="750346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15" name="Freeform 146">
              <a:extLst>
                <a:ext uri="{FF2B5EF4-FFF2-40B4-BE49-F238E27FC236}">
                  <a16:creationId xmlns:a16="http://schemas.microsoft.com/office/drawing/2014/main" id="{967C3015-792D-478B-902C-18AEC1506188}"/>
                </a:ext>
              </a:extLst>
            </p:cNvPr>
            <p:cNvSpPr/>
            <p:nvPr/>
          </p:nvSpPr>
          <p:spPr>
            <a:xfrm>
              <a:off x="13148848" y="3433"/>
              <a:ext cx="319369" cy="430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916" y="10671"/>
                  </a:moveTo>
                  <a:lnTo>
                    <a:pt x="7200" y="10671"/>
                  </a:lnTo>
                  <a:lnTo>
                    <a:pt x="7200" y="5335"/>
                  </a:lnTo>
                  <a:lnTo>
                    <a:pt x="11613" y="5335"/>
                  </a:lnTo>
                  <a:lnTo>
                    <a:pt x="12310" y="5508"/>
                  </a:lnTo>
                  <a:lnTo>
                    <a:pt x="13471" y="6196"/>
                  </a:lnTo>
                  <a:lnTo>
                    <a:pt x="14168" y="7057"/>
                  </a:lnTo>
                  <a:lnTo>
                    <a:pt x="14400" y="7401"/>
                  </a:lnTo>
                  <a:lnTo>
                    <a:pt x="14400" y="8606"/>
                  </a:lnTo>
                  <a:lnTo>
                    <a:pt x="14168" y="9122"/>
                  </a:lnTo>
                  <a:lnTo>
                    <a:pt x="13471" y="9982"/>
                  </a:lnTo>
                  <a:lnTo>
                    <a:pt x="12310" y="10499"/>
                  </a:lnTo>
                  <a:lnTo>
                    <a:pt x="11613" y="10671"/>
                  </a:lnTo>
                  <a:lnTo>
                    <a:pt x="10916" y="10671"/>
                  </a:lnTo>
                  <a:close/>
                  <a:moveTo>
                    <a:pt x="10916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7200" y="21600"/>
                  </a:lnTo>
                  <a:lnTo>
                    <a:pt x="7200" y="16006"/>
                  </a:lnTo>
                  <a:lnTo>
                    <a:pt x="10916" y="16006"/>
                  </a:lnTo>
                  <a:lnTo>
                    <a:pt x="13006" y="15834"/>
                  </a:lnTo>
                  <a:lnTo>
                    <a:pt x="15097" y="15490"/>
                  </a:lnTo>
                  <a:lnTo>
                    <a:pt x="16955" y="14629"/>
                  </a:lnTo>
                  <a:lnTo>
                    <a:pt x="18581" y="13769"/>
                  </a:lnTo>
                  <a:lnTo>
                    <a:pt x="19974" y="12564"/>
                  </a:lnTo>
                  <a:lnTo>
                    <a:pt x="20903" y="11187"/>
                  </a:lnTo>
                  <a:lnTo>
                    <a:pt x="21600" y="9638"/>
                  </a:lnTo>
                  <a:lnTo>
                    <a:pt x="21600" y="6368"/>
                  </a:lnTo>
                  <a:lnTo>
                    <a:pt x="20903" y="4819"/>
                  </a:lnTo>
                  <a:lnTo>
                    <a:pt x="19974" y="3614"/>
                  </a:lnTo>
                  <a:lnTo>
                    <a:pt x="18581" y="2410"/>
                  </a:lnTo>
                  <a:lnTo>
                    <a:pt x="16955" y="1377"/>
                  </a:lnTo>
                  <a:lnTo>
                    <a:pt x="15097" y="688"/>
                  </a:lnTo>
                  <a:lnTo>
                    <a:pt x="13006" y="172"/>
                  </a:lnTo>
                  <a:lnTo>
                    <a:pt x="10916" y="0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16" name="Freeform 149">
              <a:extLst>
                <a:ext uri="{FF2B5EF4-FFF2-40B4-BE49-F238E27FC236}">
                  <a16:creationId xmlns:a16="http://schemas.microsoft.com/office/drawing/2014/main" id="{43A0BD81-745D-4D53-9AB7-DB88127477E0}"/>
                </a:ext>
              </a:extLst>
            </p:cNvPr>
            <p:cNvSpPr/>
            <p:nvPr/>
          </p:nvSpPr>
          <p:spPr>
            <a:xfrm>
              <a:off x="13547201" y="0"/>
              <a:ext cx="367445" cy="4344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516" y="21600"/>
                  </a:moveTo>
                  <a:lnTo>
                    <a:pt x="10093" y="21429"/>
                  </a:lnTo>
                  <a:lnTo>
                    <a:pt x="7873" y="20746"/>
                  </a:lnTo>
                  <a:lnTo>
                    <a:pt x="6662" y="20405"/>
                  </a:lnTo>
                  <a:lnTo>
                    <a:pt x="5652" y="19892"/>
                  </a:lnTo>
                  <a:lnTo>
                    <a:pt x="4643" y="19124"/>
                  </a:lnTo>
                  <a:lnTo>
                    <a:pt x="2826" y="17587"/>
                  </a:lnTo>
                  <a:lnTo>
                    <a:pt x="2019" y="16734"/>
                  </a:lnTo>
                  <a:lnTo>
                    <a:pt x="1413" y="15880"/>
                  </a:lnTo>
                  <a:lnTo>
                    <a:pt x="807" y="14855"/>
                  </a:lnTo>
                  <a:lnTo>
                    <a:pt x="404" y="13831"/>
                  </a:lnTo>
                  <a:lnTo>
                    <a:pt x="0" y="11782"/>
                  </a:lnTo>
                  <a:lnTo>
                    <a:pt x="0" y="9733"/>
                  </a:lnTo>
                  <a:lnTo>
                    <a:pt x="404" y="7684"/>
                  </a:lnTo>
                  <a:lnTo>
                    <a:pt x="807" y="6659"/>
                  </a:lnTo>
                  <a:lnTo>
                    <a:pt x="1413" y="5635"/>
                  </a:lnTo>
                  <a:lnTo>
                    <a:pt x="2019" y="4781"/>
                  </a:lnTo>
                  <a:lnTo>
                    <a:pt x="2826" y="3927"/>
                  </a:lnTo>
                  <a:lnTo>
                    <a:pt x="4643" y="2391"/>
                  </a:lnTo>
                  <a:lnTo>
                    <a:pt x="5652" y="1878"/>
                  </a:lnTo>
                  <a:lnTo>
                    <a:pt x="6662" y="1195"/>
                  </a:lnTo>
                  <a:lnTo>
                    <a:pt x="7873" y="854"/>
                  </a:lnTo>
                  <a:lnTo>
                    <a:pt x="10093" y="171"/>
                  </a:lnTo>
                  <a:lnTo>
                    <a:pt x="12516" y="0"/>
                  </a:lnTo>
                  <a:lnTo>
                    <a:pt x="14938" y="171"/>
                  </a:lnTo>
                  <a:lnTo>
                    <a:pt x="18572" y="1195"/>
                  </a:lnTo>
                  <a:lnTo>
                    <a:pt x="19581" y="1878"/>
                  </a:lnTo>
                  <a:lnTo>
                    <a:pt x="20591" y="2391"/>
                  </a:lnTo>
                  <a:lnTo>
                    <a:pt x="21600" y="3244"/>
                  </a:lnTo>
                  <a:lnTo>
                    <a:pt x="17159" y="7001"/>
                  </a:lnTo>
                  <a:lnTo>
                    <a:pt x="16150" y="6318"/>
                  </a:lnTo>
                  <a:lnTo>
                    <a:pt x="14938" y="5806"/>
                  </a:lnTo>
                  <a:lnTo>
                    <a:pt x="13727" y="5464"/>
                  </a:lnTo>
                  <a:lnTo>
                    <a:pt x="12516" y="5293"/>
                  </a:lnTo>
                  <a:lnTo>
                    <a:pt x="11305" y="5464"/>
                  </a:lnTo>
                  <a:lnTo>
                    <a:pt x="10093" y="5806"/>
                  </a:lnTo>
                  <a:lnTo>
                    <a:pt x="9084" y="6318"/>
                  </a:lnTo>
                  <a:lnTo>
                    <a:pt x="8075" y="7001"/>
                  </a:lnTo>
                  <a:lnTo>
                    <a:pt x="7267" y="7855"/>
                  </a:lnTo>
                  <a:lnTo>
                    <a:pt x="6662" y="8708"/>
                  </a:lnTo>
                  <a:lnTo>
                    <a:pt x="6258" y="9733"/>
                  </a:lnTo>
                  <a:lnTo>
                    <a:pt x="6258" y="11782"/>
                  </a:lnTo>
                  <a:lnTo>
                    <a:pt x="6662" y="12806"/>
                  </a:lnTo>
                  <a:lnTo>
                    <a:pt x="7267" y="13831"/>
                  </a:lnTo>
                  <a:lnTo>
                    <a:pt x="8075" y="14514"/>
                  </a:lnTo>
                  <a:lnTo>
                    <a:pt x="9084" y="15197"/>
                  </a:lnTo>
                  <a:lnTo>
                    <a:pt x="10093" y="15709"/>
                  </a:lnTo>
                  <a:lnTo>
                    <a:pt x="11305" y="16051"/>
                  </a:lnTo>
                  <a:lnTo>
                    <a:pt x="12516" y="16221"/>
                  </a:lnTo>
                  <a:lnTo>
                    <a:pt x="13727" y="16051"/>
                  </a:lnTo>
                  <a:lnTo>
                    <a:pt x="14938" y="15709"/>
                  </a:lnTo>
                  <a:lnTo>
                    <a:pt x="16150" y="15197"/>
                  </a:lnTo>
                  <a:lnTo>
                    <a:pt x="17159" y="14514"/>
                  </a:lnTo>
                  <a:lnTo>
                    <a:pt x="21600" y="18270"/>
                  </a:lnTo>
                  <a:lnTo>
                    <a:pt x="20591" y="19124"/>
                  </a:lnTo>
                  <a:lnTo>
                    <a:pt x="19581" y="19892"/>
                  </a:lnTo>
                  <a:lnTo>
                    <a:pt x="18572" y="20405"/>
                  </a:lnTo>
                  <a:lnTo>
                    <a:pt x="14938" y="21429"/>
                  </a:lnTo>
                  <a:lnTo>
                    <a:pt x="12516" y="21600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0658228"/>
      </p:ext>
    </p:extLst>
  </p:cSld>
  <p:clrMapOvr>
    <a:masterClrMapping/>
  </p:clrMapOvr>
  <p:transition spd="slow">
    <p:push dir="u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9B528585-65F7-46F1-A681-CD4CA9AD04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FD791AF-1202-464C-B4C5-ED73DC9B5062}" type="datetime1">
              <a:rPr lang="ru-RU" smtClean="0"/>
              <a:pPr>
                <a:defRPr/>
              </a:pPr>
              <a:t>10.02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5955CD81-A7A3-427E-9DBE-D89CA5DA2A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C977505-5CC5-4F87-8F3B-2A78D7747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20D6CE3-AECF-4569-8ACD-33472A92AED1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8113249"/>
      </p:ext>
    </p:extLst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B2C4B38-A00C-4986-B54C-F663E512B8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>
                <a:latin typeface="Circe Bold" panose="020B0602020203020203" pitchFamily="34" charset="-52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B7CA7D0-90DE-4551-9584-7A0EFA7937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irce Light" panose="020B0402020203020203" pitchFamily="34" charset="-52"/>
              </a:defRPr>
            </a:lvl1pPr>
            <a:lvl2pPr>
              <a:defRPr>
                <a:latin typeface="Circe Light" panose="020B0402020203020203" pitchFamily="34" charset="-52"/>
              </a:defRPr>
            </a:lvl2pPr>
            <a:lvl3pPr>
              <a:defRPr>
                <a:latin typeface="Circe Light" panose="020B0402020203020203" pitchFamily="34" charset="-52"/>
              </a:defRPr>
            </a:lvl3pPr>
            <a:lvl4pPr>
              <a:defRPr>
                <a:latin typeface="Circe Light" panose="020B0402020203020203" pitchFamily="34" charset="-52"/>
              </a:defRPr>
            </a:lvl4pPr>
            <a:lvl5pPr>
              <a:defRPr>
                <a:latin typeface="Circe Light" panose="020B0402020203020203" pitchFamily="34" charset="-52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8973AB2-5FD8-4AAD-8E45-6B9A404F6E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C3CED42-C24D-4E32-B0FC-10B7312E29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1AB82A5-467C-4B0E-9DDD-D084603D89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fld id="{9255815B-AD1E-49D8-8E6F-989E26A7EBA1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  <p:grpSp>
        <p:nvGrpSpPr>
          <p:cNvPr id="62" name="Группа 69">
            <a:extLst>
              <a:ext uri="{FF2B5EF4-FFF2-40B4-BE49-F238E27FC236}">
                <a16:creationId xmlns:a16="http://schemas.microsoft.com/office/drawing/2014/main" id="{15A814D4-9CF7-4379-9243-43646E0C67EF}"/>
              </a:ext>
            </a:extLst>
          </p:cNvPr>
          <p:cNvGrpSpPr/>
          <p:nvPr userDrawn="1"/>
        </p:nvGrpSpPr>
        <p:grpSpPr>
          <a:xfrm>
            <a:off x="1188976" y="6403911"/>
            <a:ext cx="9814048" cy="457574"/>
            <a:chOff x="0" y="0"/>
            <a:chExt cx="16167043" cy="753778"/>
          </a:xfrm>
          <a:solidFill>
            <a:srgbClr val="004E6B"/>
          </a:solidFill>
        </p:grpSpPr>
        <p:sp>
          <p:nvSpPr>
            <p:cNvPr id="63" name="bk object 17">
              <a:extLst>
                <a:ext uri="{FF2B5EF4-FFF2-40B4-BE49-F238E27FC236}">
                  <a16:creationId xmlns:a16="http://schemas.microsoft.com/office/drawing/2014/main" id="{2A8BE8FE-CED2-4E99-AF1C-0B694426E010}"/>
                </a:ext>
              </a:extLst>
            </p:cNvPr>
            <p:cNvSpPr/>
            <p:nvPr/>
          </p:nvSpPr>
          <p:spPr>
            <a:xfrm>
              <a:off x="14775181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4" name="bk object 18">
              <a:extLst>
                <a:ext uri="{FF2B5EF4-FFF2-40B4-BE49-F238E27FC236}">
                  <a16:creationId xmlns:a16="http://schemas.microsoft.com/office/drawing/2014/main" id="{7BF8FA5F-98D0-47A4-A9F6-3F1E9AEFE63B}"/>
                </a:ext>
              </a:extLst>
            </p:cNvPr>
            <p:cNvSpPr/>
            <p:nvPr/>
          </p:nvSpPr>
          <p:spPr>
            <a:xfrm>
              <a:off x="15096387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5" name="bk object 19">
              <a:extLst>
                <a:ext uri="{FF2B5EF4-FFF2-40B4-BE49-F238E27FC236}">
                  <a16:creationId xmlns:a16="http://schemas.microsoft.com/office/drawing/2014/main" id="{8465BDA5-CBC7-405D-AA6F-340062E4CFD0}"/>
                </a:ext>
              </a:extLst>
            </p:cNvPr>
            <p:cNvSpPr/>
            <p:nvPr/>
          </p:nvSpPr>
          <p:spPr>
            <a:xfrm>
              <a:off x="15417570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6" name="bk object 20">
              <a:extLst>
                <a:ext uri="{FF2B5EF4-FFF2-40B4-BE49-F238E27FC236}">
                  <a16:creationId xmlns:a16="http://schemas.microsoft.com/office/drawing/2014/main" id="{5C574728-6E85-414B-A4C2-8E58D3169D8E}"/>
                </a:ext>
              </a:extLst>
            </p:cNvPr>
            <p:cNvSpPr/>
            <p:nvPr/>
          </p:nvSpPr>
          <p:spPr>
            <a:xfrm>
              <a:off x="15738786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7" name="bk object 21">
              <a:extLst>
                <a:ext uri="{FF2B5EF4-FFF2-40B4-BE49-F238E27FC236}">
                  <a16:creationId xmlns:a16="http://schemas.microsoft.com/office/drawing/2014/main" id="{E2B3573D-4CA6-4D66-A5EC-D50F2A95B211}"/>
                </a:ext>
              </a:extLst>
            </p:cNvPr>
            <p:cNvSpPr/>
            <p:nvPr/>
          </p:nvSpPr>
          <p:spPr>
            <a:xfrm>
              <a:off x="16059980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8" name="bk object 22">
              <a:extLst>
                <a:ext uri="{FF2B5EF4-FFF2-40B4-BE49-F238E27FC236}">
                  <a16:creationId xmlns:a16="http://schemas.microsoft.com/office/drawing/2014/main" id="{AE6279C9-218D-4D57-B7F5-DAAF599873A5}"/>
                </a:ext>
              </a:extLst>
            </p:cNvPr>
            <p:cNvSpPr/>
            <p:nvPr/>
          </p:nvSpPr>
          <p:spPr>
            <a:xfrm>
              <a:off x="9635978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9" name="bk object 23">
              <a:extLst>
                <a:ext uri="{FF2B5EF4-FFF2-40B4-BE49-F238E27FC236}">
                  <a16:creationId xmlns:a16="http://schemas.microsoft.com/office/drawing/2014/main" id="{CCDD3290-A778-4862-8EBE-D1CACA656EF1}"/>
                </a:ext>
              </a:extLst>
            </p:cNvPr>
            <p:cNvSpPr/>
            <p:nvPr/>
          </p:nvSpPr>
          <p:spPr>
            <a:xfrm>
              <a:off x="9957182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0" name="bk object 24">
              <a:extLst>
                <a:ext uri="{FF2B5EF4-FFF2-40B4-BE49-F238E27FC236}">
                  <a16:creationId xmlns:a16="http://schemas.microsoft.com/office/drawing/2014/main" id="{34FEC433-58A9-4AE4-A1D8-05A2D38DF1A7}"/>
                </a:ext>
              </a:extLst>
            </p:cNvPr>
            <p:cNvSpPr/>
            <p:nvPr/>
          </p:nvSpPr>
          <p:spPr>
            <a:xfrm>
              <a:off x="10278377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1" name="bk object 25">
              <a:extLst>
                <a:ext uri="{FF2B5EF4-FFF2-40B4-BE49-F238E27FC236}">
                  <a16:creationId xmlns:a16="http://schemas.microsoft.com/office/drawing/2014/main" id="{15FAF0DF-693A-4C98-95C0-1C30D32000AC}"/>
                </a:ext>
              </a:extLst>
            </p:cNvPr>
            <p:cNvSpPr/>
            <p:nvPr/>
          </p:nvSpPr>
          <p:spPr>
            <a:xfrm>
              <a:off x="10599570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2" name="bk object 26">
              <a:extLst>
                <a:ext uri="{FF2B5EF4-FFF2-40B4-BE49-F238E27FC236}">
                  <a16:creationId xmlns:a16="http://schemas.microsoft.com/office/drawing/2014/main" id="{5D009F54-CDB0-4D6C-83C6-669412D19DF0}"/>
                </a:ext>
              </a:extLst>
            </p:cNvPr>
            <p:cNvSpPr/>
            <p:nvPr/>
          </p:nvSpPr>
          <p:spPr>
            <a:xfrm>
              <a:off x="10920765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3" name="bk object 27">
              <a:extLst>
                <a:ext uri="{FF2B5EF4-FFF2-40B4-BE49-F238E27FC236}">
                  <a16:creationId xmlns:a16="http://schemas.microsoft.com/office/drawing/2014/main" id="{D1AD6CBE-7F81-464B-B97D-7FEA2BE3401A}"/>
                </a:ext>
              </a:extLst>
            </p:cNvPr>
            <p:cNvSpPr/>
            <p:nvPr/>
          </p:nvSpPr>
          <p:spPr>
            <a:xfrm>
              <a:off x="11241981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4" name="bk object 28">
              <a:extLst>
                <a:ext uri="{FF2B5EF4-FFF2-40B4-BE49-F238E27FC236}">
                  <a16:creationId xmlns:a16="http://schemas.microsoft.com/office/drawing/2014/main" id="{BA9363E6-C713-4728-B7BE-FF576291DA92}"/>
                </a:ext>
              </a:extLst>
            </p:cNvPr>
            <p:cNvSpPr/>
            <p:nvPr/>
          </p:nvSpPr>
          <p:spPr>
            <a:xfrm>
              <a:off x="8029985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5" name="bk object 29">
              <a:extLst>
                <a:ext uri="{FF2B5EF4-FFF2-40B4-BE49-F238E27FC236}">
                  <a16:creationId xmlns:a16="http://schemas.microsoft.com/office/drawing/2014/main" id="{705666EE-35DC-49BA-882C-CE56DBC4C5F2}"/>
                </a:ext>
              </a:extLst>
            </p:cNvPr>
            <p:cNvSpPr/>
            <p:nvPr/>
          </p:nvSpPr>
          <p:spPr>
            <a:xfrm>
              <a:off x="8351179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6" name="bk object 30">
              <a:extLst>
                <a:ext uri="{FF2B5EF4-FFF2-40B4-BE49-F238E27FC236}">
                  <a16:creationId xmlns:a16="http://schemas.microsoft.com/office/drawing/2014/main" id="{5F7CF055-ECEE-4A61-A18E-367B7D2A8E51}"/>
                </a:ext>
              </a:extLst>
            </p:cNvPr>
            <p:cNvSpPr/>
            <p:nvPr/>
          </p:nvSpPr>
          <p:spPr>
            <a:xfrm>
              <a:off x="8672372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7" name="bk object 31">
              <a:extLst>
                <a:ext uri="{FF2B5EF4-FFF2-40B4-BE49-F238E27FC236}">
                  <a16:creationId xmlns:a16="http://schemas.microsoft.com/office/drawing/2014/main" id="{12961CBB-3C6E-4891-AA72-6EABB07D18CE}"/>
                </a:ext>
              </a:extLst>
            </p:cNvPr>
            <p:cNvSpPr/>
            <p:nvPr/>
          </p:nvSpPr>
          <p:spPr>
            <a:xfrm>
              <a:off x="8993589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8" name="bk object 32">
              <a:extLst>
                <a:ext uri="{FF2B5EF4-FFF2-40B4-BE49-F238E27FC236}">
                  <a16:creationId xmlns:a16="http://schemas.microsoft.com/office/drawing/2014/main" id="{6EAEE011-4149-405C-8759-FC7997ED0D90}"/>
                </a:ext>
              </a:extLst>
            </p:cNvPr>
            <p:cNvSpPr/>
            <p:nvPr/>
          </p:nvSpPr>
          <p:spPr>
            <a:xfrm>
              <a:off x="9314783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9" name="bk object 33">
              <a:extLst>
                <a:ext uri="{FF2B5EF4-FFF2-40B4-BE49-F238E27FC236}">
                  <a16:creationId xmlns:a16="http://schemas.microsoft.com/office/drawing/2014/main" id="{92CF6898-B583-4719-BA00-EA7EFCF22A44}"/>
                </a:ext>
              </a:extLst>
            </p:cNvPr>
            <p:cNvSpPr/>
            <p:nvPr/>
          </p:nvSpPr>
          <p:spPr>
            <a:xfrm>
              <a:off x="6423971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0" name="bk object 34">
              <a:extLst>
                <a:ext uri="{FF2B5EF4-FFF2-40B4-BE49-F238E27FC236}">
                  <a16:creationId xmlns:a16="http://schemas.microsoft.com/office/drawing/2014/main" id="{51B4E716-5655-4EF1-89AA-9B56A9576258}"/>
                </a:ext>
              </a:extLst>
            </p:cNvPr>
            <p:cNvSpPr/>
            <p:nvPr/>
          </p:nvSpPr>
          <p:spPr>
            <a:xfrm>
              <a:off x="6745186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1" name="bk object 35">
              <a:extLst>
                <a:ext uri="{FF2B5EF4-FFF2-40B4-BE49-F238E27FC236}">
                  <a16:creationId xmlns:a16="http://schemas.microsoft.com/office/drawing/2014/main" id="{961A943A-5186-4329-8704-CB703DCF4401}"/>
                </a:ext>
              </a:extLst>
            </p:cNvPr>
            <p:cNvSpPr/>
            <p:nvPr/>
          </p:nvSpPr>
          <p:spPr>
            <a:xfrm>
              <a:off x="7066381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2" name="bk object 36">
              <a:extLst>
                <a:ext uri="{FF2B5EF4-FFF2-40B4-BE49-F238E27FC236}">
                  <a16:creationId xmlns:a16="http://schemas.microsoft.com/office/drawing/2014/main" id="{7335B247-FABD-4179-8CAE-D4B5EAA254B4}"/>
                </a:ext>
              </a:extLst>
            </p:cNvPr>
            <p:cNvSpPr/>
            <p:nvPr/>
          </p:nvSpPr>
          <p:spPr>
            <a:xfrm>
              <a:off x="7387554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3" name="bk object 37">
              <a:extLst>
                <a:ext uri="{FF2B5EF4-FFF2-40B4-BE49-F238E27FC236}">
                  <a16:creationId xmlns:a16="http://schemas.microsoft.com/office/drawing/2014/main" id="{38451DA1-C0AE-402E-B206-35EFBB02B4CB}"/>
                </a:ext>
              </a:extLst>
            </p:cNvPr>
            <p:cNvSpPr/>
            <p:nvPr/>
          </p:nvSpPr>
          <p:spPr>
            <a:xfrm>
              <a:off x="7708790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4" name="bk object 38">
              <a:extLst>
                <a:ext uri="{FF2B5EF4-FFF2-40B4-BE49-F238E27FC236}">
                  <a16:creationId xmlns:a16="http://schemas.microsoft.com/office/drawing/2014/main" id="{B42ABDFC-069F-4B46-B84A-6753DCA34AFF}"/>
                </a:ext>
              </a:extLst>
            </p:cNvPr>
            <p:cNvSpPr/>
            <p:nvPr/>
          </p:nvSpPr>
          <p:spPr>
            <a:xfrm>
              <a:off x="4817978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5" name="bk object 39">
              <a:extLst>
                <a:ext uri="{FF2B5EF4-FFF2-40B4-BE49-F238E27FC236}">
                  <a16:creationId xmlns:a16="http://schemas.microsoft.com/office/drawing/2014/main" id="{62A329E3-CC96-4F53-9D2C-3588C3E66836}"/>
                </a:ext>
              </a:extLst>
            </p:cNvPr>
            <p:cNvSpPr/>
            <p:nvPr/>
          </p:nvSpPr>
          <p:spPr>
            <a:xfrm>
              <a:off x="5139172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6" name="bk object 40">
              <a:extLst>
                <a:ext uri="{FF2B5EF4-FFF2-40B4-BE49-F238E27FC236}">
                  <a16:creationId xmlns:a16="http://schemas.microsoft.com/office/drawing/2014/main" id="{65543A4E-BAFE-4D50-ACCE-19BA0A5D4562}"/>
                </a:ext>
              </a:extLst>
            </p:cNvPr>
            <p:cNvSpPr/>
            <p:nvPr/>
          </p:nvSpPr>
          <p:spPr>
            <a:xfrm>
              <a:off x="5460366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7" name="bk object 41">
              <a:extLst>
                <a:ext uri="{FF2B5EF4-FFF2-40B4-BE49-F238E27FC236}">
                  <a16:creationId xmlns:a16="http://schemas.microsoft.com/office/drawing/2014/main" id="{95BF227A-C708-4737-B516-898A86F5B3AB}"/>
                </a:ext>
              </a:extLst>
            </p:cNvPr>
            <p:cNvSpPr/>
            <p:nvPr/>
          </p:nvSpPr>
          <p:spPr>
            <a:xfrm>
              <a:off x="5781561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8" name="bk object 42">
              <a:extLst>
                <a:ext uri="{FF2B5EF4-FFF2-40B4-BE49-F238E27FC236}">
                  <a16:creationId xmlns:a16="http://schemas.microsoft.com/office/drawing/2014/main" id="{9C8B518B-9C34-44A3-B3F4-B11713FF718D}"/>
                </a:ext>
              </a:extLst>
            </p:cNvPr>
            <p:cNvSpPr/>
            <p:nvPr/>
          </p:nvSpPr>
          <p:spPr>
            <a:xfrm>
              <a:off x="6102777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9" name="bk object 43">
              <a:extLst>
                <a:ext uri="{FF2B5EF4-FFF2-40B4-BE49-F238E27FC236}">
                  <a16:creationId xmlns:a16="http://schemas.microsoft.com/office/drawing/2014/main" id="{54A473D7-7F19-42E1-A38A-F1047AF6812C}"/>
                </a:ext>
              </a:extLst>
            </p:cNvPr>
            <p:cNvSpPr/>
            <p:nvPr/>
          </p:nvSpPr>
          <p:spPr>
            <a:xfrm>
              <a:off x="3211985" y="432467"/>
              <a:ext cx="107065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0" name="bk object 44">
              <a:extLst>
                <a:ext uri="{FF2B5EF4-FFF2-40B4-BE49-F238E27FC236}">
                  <a16:creationId xmlns:a16="http://schemas.microsoft.com/office/drawing/2014/main" id="{A2918433-664C-43A6-8DB9-E58C8E998435}"/>
                </a:ext>
              </a:extLst>
            </p:cNvPr>
            <p:cNvSpPr/>
            <p:nvPr/>
          </p:nvSpPr>
          <p:spPr>
            <a:xfrm>
              <a:off x="3533179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1" name="bk object 45">
              <a:extLst>
                <a:ext uri="{FF2B5EF4-FFF2-40B4-BE49-F238E27FC236}">
                  <a16:creationId xmlns:a16="http://schemas.microsoft.com/office/drawing/2014/main" id="{E350B7DC-F762-4CFD-A4BF-15577068FDF0}"/>
                </a:ext>
              </a:extLst>
            </p:cNvPr>
            <p:cNvSpPr/>
            <p:nvPr/>
          </p:nvSpPr>
          <p:spPr>
            <a:xfrm>
              <a:off x="3854374" y="539533"/>
              <a:ext cx="107076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2" name="bk object 46">
              <a:extLst>
                <a:ext uri="{FF2B5EF4-FFF2-40B4-BE49-F238E27FC236}">
                  <a16:creationId xmlns:a16="http://schemas.microsoft.com/office/drawing/2014/main" id="{4BF05D62-B879-484E-8788-929D6D3BA159}"/>
                </a:ext>
              </a:extLst>
            </p:cNvPr>
            <p:cNvSpPr/>
            <p:nvPr/>
          </p:nvSpPr>
          <p:spPr>
            <a:xfrm>
              <a:off x="4175578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3" name="bk object 47">
              <a:extLst>
                <a:ext uri="{FF2B5EF4-FFF2-40B4-BE49-F238E27FC236}">
                  <a16:creationId xmlns:a16="http://schemas.microsoft.com/office/drawing/2014/main" id="{7C423FBD-EF72-4FC4-9059-4DDB412736B5}"/>
                </a:ext>
              </a:extLst>
            </p:cNvPr>
            <p:cNvSpPr/>
            <p:nvPr/>
          </p:nvSpPr>
          <p:spPr>
            <a:xfrm>
              <a:off x="4496784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4" name="bk object 48">
              <a:extLst>
                <a:ext uri="{FF2B5EF4-FFF2-40B4-BE49-F238E27FC236}">
                  <a16:creationId xmlns:a16="http://schemas.microsoft.com/office/drawing/2014/main" id="{62E35890-66EF-4161-9076-4311194E8C6D}"/>
                </a:ext>
              </a:extLst>
            </p:cNvPr>
            <p:cNvSpPr/>
            <p:nvPr/>
          </p:nvSpPr>
          <p:spPr>
            <a:xfrm>
              <a:off x="1605992" y="432467"/>
              <a:ext cx="107065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5" name="bk object 49">
              <a:extLst>
                <a:ext uri="{FF2B5EF4-FFF2-40B4-BE49-F238E27FC236}">
                  <a16:creationId xmlns:a16="http://schemas.microsoft.com/office/drawing/2014/main" id="{6C850991-9C91-4934-BBD0-B7F83FE68226}"/>
                </a:ext>
              </a:extLst>
            </p:cNvPr>
            <p:cNvSpPr/>
            <p:nvPr/>
          </p:nvSpPr>
          <p:spPr>
            <a:xfrm>
              <a:off x="1927186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6" name="bk object 50">
              <a:extLst>
                <a:ext uri="{FF2B5EF4-FFF2-40B4-BE49-F238E27FC236}">
                  <a16:creationId xmlns:a16="http://schemas.microsoft.com/office/drawing/2014/main" id="{9583BF23-C8B8-425D-97B6-EF4B0D5121C8}"/>
                </a:ext>
              </a:extLst>
            </p:cNvPr>
            <p:cNvSpPr/>
            <p:nvPr/>
          </p:nvSpPr>
          <p:spPr>
            <a:xfrm>
              <a:off x="2248381" y="539533"/>
              <a:ext cx="107076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7" name="bk object 51">
              <a:extLst>
                <a:ext uri="{FF2B5EF4-FFF2-40B4-BE49-F238E27FC236}">
                  <a16:creationId xmlns:a16="http://schemas.microsoft.com/office/drawing/2014/main" id="{1758C9F6-4CAB-47F4-9E99-D8CFC0F2B721}"/>
                </a:ext>
              </a:extLst>
            </p:cNvPr>
            <p:cNvSpPr/>
            <p:nvPr/>
          </p:nvSpPr>
          <p:spPr>
            <a:xfrm>
              <a:off x="2569586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8" name="bk object 52">
              <a:extLst>
                <a:ext uri="{FF2B5EF4-FFF2-40B4-BE49-F238E27FC236}">
                  <a16:creationId xmlns:a16="http://schemas.microsoft.com/office/drawing/2014/main" id="{54AFEDF2-E415-4C0E-A887-6B04AF5097B9}"/>
                </a:ext>
              </a:extLst>
            </p:cNvPr>
            <p:cNvSpPr/>
            <p:nvPr/>
          </p:nvSpPr>
          <p:spPr>
            <a:xfrm>
              <a:off x="2890791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9" name="bk object 53">
              <a:extLst>
                <a:ext uri="{FF2B5EF4-FFF2-40B4-BE49-F238E27FC236}">
                  <a16:creationId xmlns:a16="http://schemas.microsoft.com/office/drawing/2014/main" id="{8C7E4D2E-ACD3-4D14-9F09-F304C89CC1B4}"/>
                </a:ext>
              </a:extLst>
            </p:cNvPr>
            <p:cNvSpPr/>
            <p:nvPr/>
          </p:nvSpPr>
          <p:spPr>
            <a:xfrm>
              <a:off x="0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0" name="bk object 54">
              <a:extLst>
                <a:ext uri="{FF2B5EF4-FFF2-40B4-BE49-F238E27FC236}">
                  <a16:creationId xmlns:a16="http://schemas.microsoft.com/office/drawing/2014/main" id="{2ED96D5A-B033-4F34-BDB0-0D880EC297F3}"/>
                </a:ext>
              </a:extLst>
            </p:cNvPr>
            <p:cNvSpPr/>
            <p:nvPr/>
          </p:nvSpPr>
          <p:spPr>
            <a:xfrm>
              <a:off x="321172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1" name="bk object 55">
              <a:extLst>
                <a:ext uri="{FF2B5EF4-FFF2-40B4-BE49-F238E27FC236}">
                  <a16:creationId xmlns:a16="http://schemas.microsoft.com/office/drawing/2014/main" id="{E8B5657F-446E-460C-B502-4F672F983D05}"/>
                </a:ext>
              </a:extLst>
            </p:cNvPr>
            <p:cNvSpPr/>
            <p:nvPr/>
          </p:nvSpPr>
          <p:spPr>
            <a:xfrm>
              <a:off x="642367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2" name="bk object 56">
              <a:extLst>
                <a:ext uri="{FF2B5EF4-FFF2-40B4-BE49-F238E27FC236}">
                  <a16:creationId xmlns:a16="http://schemas.microsoft.com/office/drawing/2014/main" id="{60E8CC1E-679F-4323-A417-7291D3336342}"/>
                </a:ext>
              </a:extLst>
            </p:cNvPr>
            <p:cNvSpPr/>
            <p:nvPr/>
          </p:nvSpPr>
          <p:spPr>
            <a:xfrm>
              <a:off x="963593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3" name="bk object 57">
              <a:extLst>
                <a:ext uri="{FF2B5EF4-FFF2-40B4-BE49-F238E27FC236}">
                  <a16:creationId xmlns:a16="http://schemas.microsoft.com/office/drawing/2014/main" id="{328EA725-D245-41BE-95B7-31778B93C11A}"/>
                </a:ext>
              </a:extLst>
            </p:cNvPr>
            <p:cNvSpPr/>
            <p:nvPr/>
          </p:nvSpPr>
          <p:spPr>
            <a:xfrm>
              <a:off x="1284798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4" name="bk object 58">
              <a:extLst>
                <a:ext uri="{FF2B5EF4-FFF2-40B4-BE49-F238E27FC236}">
                  <a16:creationId xmlns:a16="http://schemas.microsoft.com/office/drawing/2014/main" id="{96A36787-CC70-4B68-BEA9-D19ACA26D431}"/>
                </a:ext>
              </a:extLst>
            </p:cNvPr>
            <p:cNvSpPr/>
            <p:nvPr/>
          </p:nvSpPr>
          <p:spPr>
            <a:xfrm>
              <a:off x="11563174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5" name="bk object 59">
              <a:extLst>
                <a:ext uri="{FF2B5EF4-FFF2-40B4-BE49-F238E27FC236}">
                  <a16:creationId xmlns:a16="http://schemas.microsoft.com/office/drawing/2014/main" id="{365CE5BE-6F67-4C6F-A804-6041D35B1F21}"/>
                </a:ext>
              </a:extLst>
            </p:cNvPr>
            <p:cNvSpPr/>
            <p:nvPr/>
          </p:nvSpPr>
          <p:spPr>
            <a:xfrm>
              <a:off x="11884369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6" name="bk object 60">
              <a:extLst>
                <a:ext uri="{FF2B5EF4-FFF2-40B4-BE49-F238E27FC236}">
                  <a16:creationId xmlns:a16="http://schemas.microsoft.com/office/drawing/2014/main" id="{7149F925-A4FC-4EE6-A636-FD9E5D718B50}"/>
                </a:ext>
              </a:extLst>
            </p:cNvPr>
            <p:cNvSpPr/>
            <p:nvPr/>
          </p:nvSpPr>
          <p:spPr>
            <a:xfrm>
              <a:off x="12205575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7" name="bk object 61">
              <a:extLst>
                <a:ext uri="{FF2B5EF4-FFF2-40B4-BE49-F238E27FC236}">
                  <a16:creationId xmlns:a16="http://schemas.microsoft.com/office/drawing/2014/main" id="{F02C769C-89D9-4F4A-A250-A5B450B7C26A}"/>
                </a:ext>
              </a:extLst>
            </p:cNvPr>
            <p:cNvSpPr/>
            <p:nvPr/>
          </p:nvSpPr>
          <p:spPr>
            <a:xfrm>
              <a:off x="12526757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8" name="Rectangle 139">
              <a:extLst>
                <a:ext uri="{FF2B5EF4-FFF2-40B4-BE49-F238E27FC236}">
                  <a16:creationId xmlns:a16="http://schemas.microsoft.com/office/drawing/2014/main" id="{B1A04EE6-7CB9-490E-82CF-C4A84936B94B}"/>
                </a:ext>
              </a:extLst>
            </p:cNvPr>
            <p:cNvSpPr/>
            <p:nvPr/>
          </p:nvSpPr>
          <p:spPr>
            <a:xfrm>
              <a:off x="12826047" y="3433"/>
              <a:ext cx="109890" cy="750346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9" name="Rectangle 140">
              <a:extLst>
                <a:ext uri="{FF2B5EF4-FFF2-40B4-BE49-F238E27FC236}">
                  <a16:creationId xmlns:a16="http://schemas.microsoft.com/office/drawing/2014/main" id="{6DF2BF44-98B9-45D8-8CCB-852A6915CF9E}"/>
                </a:ext>
              </a:extLst>
            </p:cNvPr>
            <p:cNvSpPr/>
            <p:nvPr/>
          </p:nvSpPr>
          <p:spPr>
            <a:xfrm>
              <a:off x="13148848" y="540866"/>
              <a:ext cx="106456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10" name="Rectangle 141">
              <a:extLst>
                <a:ext uri="{FF2B5EF4-FFF2-40B4-BE49-F238E27FC236}">
                  <a16:creationId xmlns:a16="http://schemas.microsoft.com/office/drawing/2014/main" id="{F046D8D3-8CDF-47CB-96CD-9FB34D7DA9C2}"/>
                </a:ext>
              </a:extLst>
            </p:cNvPr>
            <p:cNvSpPr/>
            <p:nvPr/>
          </p:nvSpPr>
          <p:spPr>
            <a:xfrm>
              <a:off x="13468218" y="540866"/>
              <a:ext cx="109890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11" name="Rectangle 142">
              <a:extLst>
                <a:ext uri="{FF2B5EF4-FFF2-40B4-BE49-F238E27FC236}">
                  <a16:creationId xmlns:a16="http://schemas.microsoft.com/office/drawing/2014/main" id="{06C48D1E-B352-4EEF-AFCA-3FEDF42373E8}"/>
                </a:ext>
              </a:extLst>
            </p:cNvPr>
            <p:cNvSpPr/>
            <p:nvPr/>
          </p:nvSpPr>
          <p:spPr>
            <a:xfrm>
              <a:off x="13791020" y="540866"/>
              <a:ext cx="106456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12" name="Rectangle 143">
              <a:extLst>
                <a:ext uri="{FF2B5EF4-FFF2-40B4-BE49-F238E27FC236}">
                  <a16:creationId xmlns:a16="http://schemas.microsoft.com/office/drawing/2014/main" id="{FDD8A7D4-CC57-41A6-90C0-1036B4FC553F}"/>
                </a:ext>
              </a:extLst>
            </p:cNvPr>
            <p:cNvSpPr/>
            <p:nvPr/>
          </p:nvSpPr>
          <p:spPr>
            <a:xfrm>
              <a:off x="14113822" y="540866"/>
              <a:ext cx="106456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13" name="Freeform 144">
              <a:extLst>
                <a:ext uri="{FF2B5EF4-FFF2-40B4-BE49-F238E27FC236}">
                  <a16:creationId xmlns:a16="http://schemas.microsoft.com/office/drawing/2014/main" id="{B0019DC9-590E-4DAF-AA81-4FC9A7506B22}"/>
                </a:ext>
              </a:extLst>
            </p:cNvPr>
            <p:cNvSpPr/>
            <p:nvPr/>
          </p:nvSpPr>
          <p:spPr>
            <a:xfrm>
              <a:off x="14003931" y="3433"/>
              <a:ext cx="322803" cy="430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0"/>
                  </a:lnTo>
                  <a:lnTo>
                    <a:pt x="0" y="5335"/>
                  </a:lnTo>
                  <a:lnTo>
                    <a:pt x="7353" y="5335"/>
                  </a:lnTo>
                  <a:lnTo>
                    <a:pt x="7353" y="21600"/>
                  </a:lnTo>
                  <a:lnTo>
                    <a:pt x="14477" y="21600"/>
                  </a:lnTo>
                  <a:lnTo>
                    <a:pt x="14477" y="5335"/>
                  </a:lnTo>
                  <a:lnTo>
                    <a:pt x="21600" y="5335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14" name="Rectangle 145">
              <a:extLst>
                <a:ext uri="{FF2B5EF4-FFF2-40B4-BE49-F238E27FC236}">
                  <a16:creationId xmlns:a16="http://schemas.microsoft.com/office/drawing/2014/main" id="{D2AB99C2-6D09-4F99-BDCB-AD6117C5ED13}"/>
                </a:ext>
              </a:extLst>
            </p:cNvPr>
            <p:cNvSpPr/>
            <p:nvPr/>
          </p:nvSpPr>
          <p:spPr>
            <a:xfrm>
              <a:off x="14433190" y="3433"/>
              <a:ext cx="106456" cy="750346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15" name="Freeform 146">
              <a:extLst>
                <a:ext uri="{FF2B5EF4-FFF2-40B4-BE49-F238E27FC236}">
                  <a16:creationId xmlns:a16="http://schemas.microsoft.com/office/drawing/2014/main" id="{967C3015-792D-478B-902C-18AEC1506188}"/>
                </a:ext>
              </a:extLst>
            </p:cNvPr>
            <p:cNvSpPr/>
            <p:nvPr/>
          </p:nvSpPr>
          <p:spPr>
            <a:xfrm>
              <a:off x="13148848" y="3433"/>
              <a:ext cx="319369" cy="430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916" y="10671"/>
                  </a:moveTo>
                  <a:lnTo>
                    <a:pt x="7200" y="10671"/>
                  </a:lnTo>
                  <a:lnTo>
                    <a:pt x="7200" y="5335"/>
                  </a:lnTo>
                  <a:lnTo>
                    <a:pt x="11613" y="5335"/>
                  </a:lnTo>
                  <a:lnTo>
                    <a:pt x="12310" y="5508"/>
                  </a:lnTo>
                  <a:lnTo>
                    <a:pt x="13471" y="6196"/>
                  </a:lnTo>
                  <a:lnTo>
                    <a:pt x="14168" y="7057"/>
                  </a:lnTo>
                  <a:lnTo>
                    <a:pt x="14400" y="7401"/>
                  </a:lnTo>
                  <a:lnTo>
                    <a:pt x="14400" y="8606"/>
                  </a:lnTo>
                  <a:lnTo>
                    <a:pt x="14168" y="9122"/>
                  </a:lnTo>
                  <a:lnTo>
                    <a:pt x="13471" y="9982"/>
                  </a:lnTo>
                  <a:lnTo>
                    <a:pt x="12310" y="10499"/>
                  </a:lnTo>
                  <a:lnTo>
                    <a:pt x="11613" y="10671"/>
                  </a:lnTo>
                  <a:lnTo>
                    <a:pt x="10916" y="10671"/>
                  </a:lnTo>
                  <a:close/>
                  <a:moveTo>
                    <a:pt x="10916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7200" y="21600"/>
                  </a:lnTo>
                  <a:lnTo>
                    <a:pt x="7200" y="16006"/>
                  </a:lnTo>
                  <a:lnTo>
                    <a:pt x="10916" y="16006"/>
                  </a:lnTo>
                  <a:lnTo>
                    <a:pt x="13006" y="15834"/>
                  </a:lnTo>
                  <a:lnTo>
                    <a:pt x="15097" y="15490"/>
                  </a:lnTo>
                  <a:lnTo>
                    <a:pt x="16955" y="14629"/>
                  </a:lnTo>
                  <a:lnTo>
                    <a:pt x="18581" y="13769"/>
                  </a:lnTo>
                  <a:lnTo>
                    <a:pt x="19974" y="12564"/>
                  </a:lnTo>
                  <a:lnTo>
                    <a:pt x="20903" y="11187"/>
                  </a:lnTo>
                  <a:lnTo>
                    <a:pt x="21600" y="9638"/>
                  </a:lnTo>
                  <a:lnTo>
                    <a:pt x="21600" y="6368"/>
                  </a:lnTo>
                  <a:lnTo>
                    <a:pt x="20903" y="4819"/>
                  </a:lnTo>
                  <a:lnTo>
                    <a:pt x="19974" y="3614"/>
                  </a:lnTo>
                  <a:lnTo>
                    <a:pt x="18581" y="2410"/>
                  </a:lnTo>
                  <a:lnTo>
                    <a:pt x="16955" y="1377"/>
                  </a:lnTo>
                  <a:lnTo>
                    <a:pt x="15097" y="688"/>
                  </a:lnTo>
                  <a:lnTo>
                    <a:pt x="13006" y="172"/>
                  </a:lnTo>
                  <a:lnTo>
                    <a:pt x="10916" y="0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16" name="Freeform 149">
              <a:extLst>
                <a:ext uri="{FF2B5EF4-FFF2-40B4-BE49-F238E27FC236}">
                  <a16:creationId xmlns:a16="http://schemas.microsoft.com/office/drawing/2014/main" id="{43A0BD81-745D-4D53-9AB7-DB88127477E0}"/>
                </a:ext>
              </a:extLst>
            </p:cNvPr>
            <p:cNvSpPr/>
            <p:nvPr/>
          </p:nvSpPr>
          <p:spPr>
            <a:xfrm>
              <a:off x="13547201" y="0"/>
              <a:ext cx="367445" cy="4344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516" y="21600"/>
                  </a:moveTo>
                  <a:lnTo>
                    <a:pt x="10093" y="21429"/>
                  </a:lnTo>
                  <a:lnTo>
                    <a:pt x="7873" y="20746"/>
                  </a:lnTo>
                  <a:lnTo>
                    <a:pt x="6662" y="20405"/>
                  </a:lnTo>
                  <a:lnTo>
                    <a:pt x="5652" y="19892"/>
                  </a:lnTo>
                  <a:lnTo>
                    <a:pt x="4643" y="19124"/>
                  </a:lnTo>
                  <a:lnTo>
                    <a:pt x="2826" y="17587"/>
                  </a:lnTo>
                  <a:lnTo>
                    <a:pt x="2019" y="16734"/>
                  </a:lnTo>
                  <a:lnTo>
                    <a:pt x="1413" y="15880"/>
                  </a:lnTo>
                  <a:lnTo>
                    <a:pt x="807" y="14855"/>
                  </a:lnTo>
                  <a:lnTo>
                    <a:pt x="404" y="13831"/>
                  </a:lnTo>
                  <a:lnTo>
                    <a:pt x="0" y="11782"/>
                  </a:lnTo>
                  <a:lnTo>
                    <a:pt x="0" y="9733"/>
                  </a:lnTo>
                  <a:lnTo>
                    <a:pt x="404" y="7684"/>
                  </a:lnTo>
                  <a:lnTo>
                    <a:pt x="807" y="6659"/>
                  </a:lnTo>
                  <a:lnTo>
                    <a:pt x="1413" y="5635"/>
                  </a:lnTo>
                  <a:lnTo>
                    <a:pt x="2019" y="4781"/>
                  </a:lnTo>
                  <a:lnTo>
                    <a:pt x="2826" y="3927"/>
                  </a:lnTo>
                  <a:lnTo>
                    <a:pt x="4643" y="2391"/>
                  </a:lnTo>
                  <a:lnTo>
                    <a:pt x="5652" y="1878"/>
                  </a:lnTo>
                  <a:lnTo>
                    <a:pt x="6662" y="1195"/>
                  </a:lnTo>
                  <a:lnTo>
                    <a:pt x="7873" y="854"/>
                  </a:lnTo>
                  <a:lnTo>
                    <a:pt x="10093" y="171"/>
                  </a:lnTo>
                  <a:lnTo>
                    <a:pt x="12516" y="0"/>
                  </a:lnTo>
                  <a:lnTo>
                    <a:pt x="14938" y="171"/>
                  </a:lnTo>
                  <a:lnTo>
                    <a:pt x="18572" y="1195"/>
                  </a:lnTo>
                  <a:lnTo>
                    <a:pt x="19581" y="1878"/>
                  </a:lnTo>
                  <a:lnTo>
                    <a:pt x="20591" y="2391"/>
                  </a:lnTo>
                  <a:lnTo>
                    <a:pt x="21600" y="3244"/>
                  </a:lnTo>
                  <a:lnTo>
                    <a:pt x="17159" y="7001"/>
                  </a:lnTo>
                  <a:lnTo>
                    <a:pt x="16150" y="6318"/>
                  </a:lnTo>
                  <a:lnTo>
                    <a:pt x="14938" y="5806"/>
                  </a:lnTo>
                  <a:lnTo>
                    <a:pt x="13727" y="5464"/>
                  </a:lnTo>
                  <a:lnTo>
                    <a:pt x="12516" y="5293"/>
                  </a:lnTo>
                  <a:lnTo>
                    <a:pt x="11305" y="5464"/>
                  </a:lnTo>
                  <a:lnTo>
                    <a:pt x="10093" y="5806"/>
                  </a:lnTo>
                  <a:lnTo>
                    <a:pt x="9084" y="6318"/>
                  </a:lnTo>
                  <a:lnTo>
                    <a:pt x="8075" y="7001"/>
                  </a:lnTo>
                  <a:lnTo>
                    <a:pt x="7267" y="7855"/>
                  </a:lnTo>
                  <a:lnTo>
                    <a:pt x="6662" y="8708"/>
                  </a:lnTo>
                  <a:lnTo>
                    <a:pt x="6258" y="9733"/>
                  </a:lnTo>
                  <a:lnTo>
                    <a:pt x="6258" y="11782"/>
                  </a:lnTo>
                  <a:lnTo>
                    <a:pt x="6662" y="12806"/>
                  </a:lnTo>
                  <a:lnTo>
                    <a:pt x="7267" y="13831"/>
                  </a:lnTo>
                  <a:lnTo>
                    <a:pt x="8075" y="14514"/>
                  </a:lnTo>
                  <a:lnTo>
                    <a:pt x="9084" y="15197"/>
                  </a:lnTo>
                  <a:lnTo>
                    <a:pt x="10093" y="15709"/>
                  </a:lnTo>
                  <a:lnTo>
                    <a:pt x="11305" y="16051"/>
                  </a:lnTo>
                  <a:lnTo>
                    <a:pt x="12516" y="16221"/>
                  </a:lnTo>
                  <a:lnTo>
                    <a:pt x="13727" y="16051"/>
                  </a:lnTo>
                  <a:lnTo>
                    <a:pt x="14938" y="15709"/>
                  </a:lnTo>
                  <a:lnTo>
                    <a:pt x="16150" y="15197"/>
                  </a:lnTo>
                  <a:lnTo>
                    <a:pt x="17159" y="14514"/>
                  </a:lnTo>
                  <a:lnTo>
                    <a:pt x="21600" y="18270"/>
                  </a:lnTo>
                  <a:lnTo>
                    <a:pt x="20591" y="19124"/>
                  </a:lnTo>
                  <a:lnTo>
                    <a:pt x="19581" y="19892"/>
                  </a:lnTo>
                  <a:lnTo>
                    <a:pt x="18572" y="20405"/>
                  </a:lnTo>
                  <a:lnTo>
                    <a:pt x="14938" y="21429"/>
                  </a:lnTo>
                  <a:lnTo>
                    <a:pt x="12516" y="21600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3406500"/>
      </p:ext>
    </p:extLst>
  </p:cSld>
  <p:clrMapOvr>
    <a:masterClrMapping/>
  </p:clrMapOvr>
  <p:transition spd="slow">
    <p:push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E1DA12D-5B67-4A88-870F-969CD3DEED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Circe Bold" panose="020B0602020203020203" pitchFamily="34" charset="-52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C8E280E-A79E-4599-8C2D-D43008F522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Circe" panose="020F0502020204030204" pitchFamily="34" charset="-5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8D60611-2EFD-4021-803B-5536D3AF78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7225AB9-B0BF-418F-87F2-4FF164DA1B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D15646B-E745-4768-B3AB-CD31F9D5B1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fld id="{97698C2F-37A6-4703-9399-6F58B8BA8A10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  <p:grpSp>
        <p:nvGrpSpPr>
          <p:cNvPr id="62" name="Группа 69">
            <a:extLst>
              <a:ext uri="{FF2B5EF4-FFF2-40B4-BE49-F238E27FC236}">
                <a16:creationId xmlns:a16="http://schemas.microsoft.com/office/drawing/2014/main" id="{9BC3922D-7957-4E8A-AF6A-A60CCBAFCBA7}"/>
              </a:ext>
            </a:extLst>
          </p:cNvPr>
          <p:cNvGrpSpPr/>
          <p:nvPr userDrawn="1"/>
        </p:nvGrpSpPr>
        <p:grpSpPr>
          <a:xfrm>
            <a:off x="1188976" y="6403911"/>
            <a:ext cx="9814048" cy="457574"/>
            <a:chOff x="0" y="0"/>
            <a:chExt cx="16167043" cy="753778"/>
          </a:xfrm>
          <a:solidFill>
            <a:srgbClr val="004E6B"/>
          </a:solidFill>
        </p:grpSpPr>
        <p:sp>
          <p:nvSpPr>
            <p:cNvPr id="63" name="bk object 17">
              <a:extLst>
                <a:ext uri="{FF2B5EF4-FFF2-40B4-BE49-F238E27FC236}">
                  <a16:creationId xmlns:a16="http://schemas.microsoft.com/office/drawing/2014/main" id="{D51D7863-8442-4C73-8A98-4F45492EE181}"/>
                </a:ext>
              </a:extLst>
            </p:cNvPr>
            <p:cNvSpPr/>
            <p:nvPr/>
          </p:nvSpPr>
          <p:spPr>
            <a:xfrm>
              <a:off x="14775181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4" name="bk object 18">
              <a:extLst>
                <a:ext uri="{FF2B5EF4-FFF2-40B4-BE49-F238E27FC236}">
                  <a16:creationId xmlns:a16="http://schemas.microsoft.com/office/drawing/2014/main" id="{F6A7F1A1-5702-4A8C-B983-86D5FB9F0586}"/>
                </a:ext>
              </a:extLst>
            </p:cNvPr>
            <p:cNvSpPr/>
            <p:nvPr/>
          </p:nvSpPr>
          <p:spPr>
            <a:xfrm>
              <a:off x="15096387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5" name="bk object 19">
              <a:extLst>
                <a:ext uri="{FF2B5EF4-FFF2-40B4-BE49-F238E27FC236}">
                  <a16:creationId xmlns:a16="http://schemas.microsoft.com/office/drawing/2014/main" id="{F08961E1-5D46-4CBA-969E-65DFE738ABA6}"/>
                </a:ext>
              </a:extLst>
            </p:cNvPr>
            <p:cNvSpPr/>
            <p:nvPr/>
          </p:nvSpPr>
          <p:spPr>
            <a:xfrm>
              <a:off x="15417570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6" name="bk object 20">
              <a:extLst>
                <a:ext uri="{FF2B5EF4-FFF2-40B4-BE49-F238E27FC236}">
                  <a16:creationId xmlns:a16="http://schemas.microsoft.com/office/drawing/2014/main" id="{658964FF-EFE6-47E6-9775-213EB97A3AEB}"/>
                </a:ext>
              </a:extLst>
            </p:cNvPr>
            <p:cNvSpPr/>
            <p:nvPr/>
          </p:nvSpPr>
          <p:spPr>
            <a:xfrm>
              <a:off x="15738786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7" name="bk object 21">
              <a:extLst>
                <a:ext uri="{FF2B5EF4-FFF2-40B4-BE49-F238E27FC236}">
                  <a16:creationId xmlns:a16="http://schemas.microsoft.com/office/drawing/2014/main" id="{C561685A-E8BA-4937-A702-92EDAFDB26EE}"/>
                </a:ext>
              </a:extLst>
            </p:cNvPr>
            <p:cNvSpPr/>
            <p:nvPr/>
          </p:nvSpPr>
          <p:spPr>
            <a:xfrm>
              <a:off x="16059980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8" name="bk object 22">
              <a:extLst>
                <a:ext uri="{FF2B5EF4-FFF2-40B4-BE49-F238E27FC236}">
                  <a16:creationId xmlns:a16="http://schemas.microsoft.com/office/drawing/2014/main" id="{132E28A8-FBF2-41C5-A944-7030CD686281}"/>
                </a:ext>
              </a:extLst>
            </p:cNvPr>
            <p:cNvSpPr/>
            <p:nvPr/>
          </p:nvSpPr>
          <p:spPr>
            <a:xfrm>
              <a:off x="9635978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9" name="bk object 23">
              <a:extLst>
                <a:ext uri="{FF2B5EF4-FFF2-40B4-BE49-F238E27FC236}">
                  <a16:creationId xmlns:a16="http://schemas.microsoft.com/office/drawing/2014/main" id="{6172DC28-15B5-42AB-AA85-8AAFCE31FB90}"/>
                </a:ext>
              </a:extLst>
            </p:cNvPr>
            <p:cNvSpPr/>
            <p:nvPr/>
          </p:nvSpPr>
          <p:spPr>
            <a:xfrm>
              <a:off x="9957182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0" name="bk object 24">
              <a:extLst>
                <a:ext uri="{FF2B5EF4-FFF2-40B4-BE49-F238E27FC236}">
                  <a16:creationId xmlns:a16="http://schemas.microsoft.com/office/drawing/2014/main" id="{63AE7D30-89FA-43EC-9FDD-0F3420BEED5D}"/>
                </a:ext>
              </a:extLst>
            </p:cNvPr>
            <p:cNvSpPr/>
            <p:nvPr/>
          </p:nvSpPr>
          <p:spPr>
            <a:xfrm>
              <a:off x="10278377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1" name="bk object 25">
              <a:extLst>
                <a:ext uri="{FF2B5EF4-FFF2-40B4-BE49-F238E27FC236}">
                  <a16:creationId xmlns:a16="http://schemas.microsoft.com/office/drawing/2014/main" id="{047C927A-4D13-4236-A13E-A7394E748D20}"/>
                </a:ext>
              </a:extLst>
            </p:cNvPr>
            <p:cNvSpPr/>
            <p:nvPr/>
          </p:nvSpPr>
          <p:spPr>
            <a:xfrm>
              <a:off x="10599570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2" name="bk object 26">
              <a:extLst>
                <a:ext uri="{FF2B5EF4-FFF2-40B4-BE49-F238E27FC236}">
                  <a16:creationId xmlns:a16="http://schemas.microsoft.com/office/drawing/2014/main" id="{84EB323D-05CB-4739-8849-CCD034B04D4F}"/>
                </a:ext>
              </a:extLst>
            </p:cNvPr>
            <p:cNvSpPr/>
            <p:nvPr/>
          </p:nvSpPr>
          <p:spPr>
            <a:xfrm>
              <a:off x="10920765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3" name="bk object 27">
              <a:extLst>
                <a:ext uri="{FF2B5EF4-FFF2-40B4-BE49-F238E27FC236}">
                  <a16:creationId xmlns:a16="http://schemas.microsoft.com/office/drawing/2014/main" id="{1A6155D7-44D2-4897-8007-EC284B1BB966}"/>
                </a:ext>
              </a:extLst>
            </p:cNvPr>
            <p:cNvSpPr/>
            <p:nvPr/>
          </p:nvSpPr>
          <p:spPr>
            <a:xfrm>
              <a:off x="11241981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4" name="bk object 28">
              <a:extLst>
                <a:ext uri="{FF2B5EF4-FFF2-40B4-BE49-F238E27FC236}">
                  <a16:creationId xmlns:a16="http://schemas.microsoft.com/office/drawing/2014/main" id="{43BD75CF-BA1A-4879-982B-FDF711427A55}"/>
                </a:ext>
              </a:extLst>
            </p:cNvPr>
            <p:cNvSpPr/>
            <p:nvPr/>
          </p:nvSpPr>
          <p:spPr>
            <a:xfrm>
              <a:off x="8029985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5" name="bk object 29">
              <a:extLst>
                <a:ext uri="{FF2B5EF4-FFF2-40B4-BE49-F238E27FC236}">
                  <a16:creationId xmlns:a16="http://schemas.microsoft.com/office/drawing/2014/main" id="{092E9E2A-87AD-410F-B42A-7A555F6EB362}"/>
                </a:ext>
              </a:extLst>
            </p:cNvPr>
            <p:cNvSpPr/>
            <p:nvPr/>
          </p:nvSpPr>
          <p:spPr>
            <a:xfrm>
              <a:off x="8351179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6" name="bk object 30">
              <a:extLst>
                <a:ext uri="{FF2B5EF4-FFF2-40B4-BE49-F238E27FC236}">
                  <a16:creationId xmlns:a16="http://schemas.microsoft.com/office/drawing/2014/main" id="{1548048E-5D4A-4878-88BB-BBAF980A27AF}"/>
                </a:ext>
              </a:extLst>
            </p:cNvPr>
            <p:cNvSpPr/>
            <p:nvPr/>
          </p:nvSpPr>
          <p:spPr>
            <a:xfrm>
              <a:off x="8672372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7" name="bk object 31">
              <a:extLst>
                <a:ext uri="{FF2B5EF4-FFF2-40B4-BE49-F238E27FC236}">
                  <a16:creationId xmlns:a16="http://schemas.microsoft.com/office/drawing/2014/main" id="{31697BB5-CE9D-4BDC-90D2-03522DB7B30A}"/>
                </a:ext>
              </a:extLst>
            </p:cNvPr>
            <p:cNvSpPr/>
            <p:nvPr/>
          </p:nvSpPr>
          <p:spPr>
            <a:xfrm>
              <a:off x="8993589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8" name="bk object 32">
              <a:extLst>
                <a:ext uri="{FF2B5EF4-FFF2-40B4-BE49-F238E27FC236}">
                  <a16:creationId xmlns:a16="http://schemas.microsoft.com/office/drawing/2014/main" id="{D7B7C2E4-1805-453B-866A-2F0FBD120928}"/>
                </a:ext>
              </a:extLst>
            </p:cNvPr>
            <p:cNvSpPr/>
            <p:nvPr/>
          </p:nvSpPr>
          <p:spPr>
            <a:xfrm>
              <a:off x="9314783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79" name="bk object 33">
              <a:extLst>
                <a:ext uri="{FF2B5EF4-FFF2-40B4-BE49-F238E27FC236}">
                  <a16:creationId xmlns:a16="http://schemas.microsoft.com/office/drawing/2014/main" id="{1BE47489-14D4-4893-80CB-9A1C1C592077}"/>
                </a:ext>
              </a:extLst>
            </p:cNvPr>
            <p:cNvSpPr/>
            <p:nvPr/>
          </p:nvSpPr>
          <p:spPr>
            <a:xfrm>
              <a:off x="6423971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0" name="bk object 34">
              <a:extLst>
                <a:ext uri="{FF2B5EF4-FFF2-40B4-BE49-F238E27FC236}">
                  <a16:creationId xmlns:a16="http://schemas.microsoft.com/office/drawing/2014/main" id="{C94F47D3-2F84-46F6-9E7D-01C6CA591B79}"/>
                </a:ext>
              </a:extLst>
            </p:cNvPr>
            <p:cNvSpPr/>
            <p:nvPr/>
          </p:nvSpPr>
          <p:spPr>
            <a:xfrm>
              <a:off x="6745186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1" name="bk object 35">
              <a:extLst>
                <a:ext uri="{FF2B5EF4-FFF2-40B4-BE49-F238E27FC236}">
                  <a16:creationId xmlns:a16="http://schemas.microsoft.com/office/drawing/2014/main" id="{DD0974F4-0406-4086-AE87-244CBF17A8F0}"/>
                </a:ext>
              </a:extLst>
            </p:cNvPr>
            <p:cNvSpPr/>
            <p:nvPr/>
          </p:nvSpPr>
          <p:spPr>
            <a:xfrm>
              <a:off x="7066381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2" name="bk object 36">
              <a:extLst>
                <a:ext uri="{FF2B5EF4-FFF2-40B4-BE49-F238E27FC236}">
                  <a16:creationId xmlns:a16="http://schemas.microsoft.com/office/drawing/2014/main" id="{5A4AA8D3-A37A-4F24-A20E-54D9F8C6CFA2}"/>
                </a:ext>
              </a:extLst>
            </p:cNvPr>
            <p:cNvSpPr/>
            <p:nvPr/>
          </p:nvSpPr>
          <p:spPr>
            <a:xfrm>
              <a:off x="7387554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3" name="bk object 37">
              <a:extLst>
                <a:ext uri="{FF2B5EF4-FFF2-40B4-BE49-F238E27FC236}">
                  <a16:creationId xmlns:a16="http://schemas.microsoft.com/office/drawing/2014/main" id="{4CCED7A1-B3CA-4954-B791-7A89907EFFB1}"/>
                </a:ext>
              </a:extLst>
            </p:cNvPr>
            <p:cNvSpPr/>
            <p:nvPr/>
          </p:nvSpPr>
          <p:spPr>
            <a:xfrm>
              <a:off x="7708790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4" name="bk object 38">
              <a:extLst>
                <a:ext uri="{FF2B5EF4-FFF2-40B4-BE49-F238E27FC236}">
                  <a16:creationId xmlns:a16="http://schemas.microsoft.com/office/drawing/2014/main" id="{2C38AC01-E98B-4E8E-898B-D9BE4D78F719}"/>
                </a:ext>
              </a:extLst>
            </p:cNvPr>
            <p:cNvSpPr/>
            <p:nvPr/>
          </p:nvSpPr>
          <p:spPr>
            <a:xfrm>
              <a:off x="4817978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5" name="bk object 39">
              <a:extLst>
                <a:ext uri="{FF2B5EF4-FFF2-40B4-BE49-F238E27FC236}">
                  <a16:creationId xmlns:a16="http://schemas.microsoft.com/office/drawing/2014/main" id="{BC0CB083-7338-4E6D-8F63-9BADE4FBEE8C}"/>
                </a:ext>
              </a:extLst>
            </p:cNvPr>
            <p:cNvSpPr/>
            <p:nvPr/>
          </p:nvSpPr>
          <p:spPr>
            <a:xfrm>
              <a:off x="5139172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6" name="bk object 40">
              <a:extLst>
                <a:ext uri="{FF2B5EF4-FFF2-40B4-BE49-F238E27FC236}">
                  <a16:creationId xmlns:a16="http://schemas.microsoft.com/office/drawing/2014/main" id="{E63392C2-0642-4366-9D09-1E4CAFFFD9B4}"/>
                </a:ext>
              </a:extLst>
            </p:cNvPr>
            <p:cNvSpPr/>
            <p:nvPr/>
          </p:nvSpPr>
          <p:spPr>
            <a:xfrm>
              <a:off x="5460366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7" name="bk object 41">
              <a:extLst>
                <a:ext uri="{FF2B5EF4-FFF2-40B4-BE49-F238E27FC236}">
                  <a16:creationId xmlns:a16="http://schemas.microsoft.com/office/drawing/2014/main" id="{57FD9367-467A-4523-85EC-80B85C3A55AA}"/>
                </a:ext>
              </a:extLst>
            </p:cNvPr>
            <p:cNvSpPr/>
            <p:nvPr/>
          </p:nvSpPr>
          <p:spPr>
            <a:xfrm>
              <a:off x="5781561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8" name="bk object 42">
              <a:extLst>
                <a:ext uri="{FF2B5EF4-FFF2-40B4-BE49-F238E27FC236}">
                  <a16:creationId xmlns:a16="http://schemas.microsoft.com/office/drawing/2014/main" id="{01B40DE5-4C99-4237-93D9-311F36ECD7BB}"/>
                </a:ext>
              </a:extLst>
            </p:cNvPr>
            <p:cNvSpPr/>
            <p:nvPr/>
          </p:nvSpPr>
          <p:spPr>
            <a:xfrm>
              <a:off x="6102777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9" name="bk object 43">
              <a:extLst>
                <a:ext uri="{FF2B5EF4-FFF2-40B4-BE49-F238E27FC236}">
                  <a16:creationId xmlns:a16="http://schemas.microsoft.com/office/drawing/2014/main" id="{40E170E9-E729-471E-8D6F-CCC57728C2CA}"/>
                </a:ext>
              </a:extLst>
            </p:cNvPr>
            <p:cNvSpPr/>
            <p:nvPr/>
          </p:nvSpPr>
          <p:spPr>
            <a:xfrm>
              <a:off x="3211985" y="432467"/>
              <a:ext cx="107065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0" name="bk object 44">
              <a:extLst>
                <a:ext uri="{FF2B5EF4-FFF2-40B4-BE49-F238E27FC236}">
                  <a16:creationId xmlns:a16="http://schemas.microsoft.com/office/drawing/2014/main" id="{0C366DDD-8D7E-47CB-B840-59A55888B78D}"/>
                </a:ext>
              </a:extLst>
            </p:cNvPr>
            <p:cNvSpPr/>
            <p:nvPr/>
          </p:nvSpPr>
          <p:spPr>
            <a:xfrm>
              <a:off x="3533179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1" name="bk object 45">
              <a:extLst>
                <a:ext uri="{FF2B5EF4-FFF2-40B4-BE49-F238E27FC236}">
                  <a16:creationId xmlns:a16="http://schemas.microsoft.com/office/drawing/2014/main" id="{EC571764-D0F8-420A-B4F5-C1B137D25E75}"/>
                </a:ext>
              </a:extLst>
            </p:cNvPr>
            <p:cNvSpPr/>
            <p:nvPr/>
          </p:nvSpPr>
          <p:spPr>
            <a:xfrm>
              <a:off x="3854374" y="539533"/>
              <a:ext cx="107076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2" name="bk object 46">
              <a:extLst>
                <a:ext uri="{FF2B5EF4-FFF2-40B4-BE49-F238E27FC236}">
                  <a16:creationId xmlns:a16="http://schemas.microsoft.com/office/drawing/2014/main" id="{AF8239B3-06B4-4267-8211-C96E9804CD6C}"/>
                </a:ext>
              </a:extLst>
            </p:cNvPr>
            <p:cNvSpPr/>
            <p:nvPr/>
          </p:nvSpPr>
          <p:spPr>
            <a:xfrm>
              <a:off x="4175578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3" name="bk object 47">
              <a:extLst>
                <a:ext uri="{FF2B5EF4-FFF2-40B4-BE49-F238E27FC236}">
                  <a16:creationId xmlns:a16="http://schemas.microsoft.com/office/drawing/2014/main" id="{3AF0ACAC-9391-4B24-AB9E-EE2F84E004E1}"/>
                </a:ext>
              </a:extLst>
            </p:cNvPr>
            <p:cNvSpPr/>
            <p:nvPr/>
          </p:nvSpPr>
          <p:spPr>
            <a:xfrm>
              <a:off x="4496784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4" name="bk object 48">
              <a:extLst>
                <a:ext uri="{FF2B5EF4-FFF2-40B4-BE49-F238E27FC236}">
                  <a16:creationId xmlns:a16="http://schemas.microsoft.com/office/drawing/2014/main" id="{DD6AA967-5A18-4346-B98F-4D77FBBD1CE6}"/>
                </a:ext>
              </a:extLst>
            </p:cNvPr>
            <p:cNvSpPr/>
            <p:nvPr/>
          </p:nvSpPr>
          <p:spPr>
            <a:xfrm>
              <a:off x="1605992" y="432467"/>
              <a:ext cx="107065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5" name="bk object 49">
              <a:extLst>
                <a:ext uri="{FF2B5EF4-FFF2-40B4-BE49-F238E27FC236}">
                  <a16:creationId xmlns:a16="http://schemas.microsoft.com/office/drawing/2014/main" id="{80EB934F-7425-4668-8A71-D5D0C9A839EC}"/>
                </a:ext>
              </a:extLst>
            </p:cNvPr>
            <p:cNvSpPr/>
            <p:nvPr/>
          </p:nvSpPr>
          <p:spPr>
            <a:xfrm>
              <a:off x="1927186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6" name="bk object 50">
              <a:extLst>
                <a:ext uri="{FF2B5EF4-FFF2-40B4-BE49-F238E27FC236}">
                  <a16:creationId xmlns:a16="http://schemas.microsoft.com/office/drawing/2014/main" id="{C67C9C5E-D9DD-47D7-9C7B-FD293136D155}"/>
                </a:ext>
              </a:extLst>
            </p:cNvPr>
            <p:cNvSpPr/>
            <p:nvPr/>
          </p:nvSpPr>
          <p:spPr>
            <a:xfrm>
              <a:off x="2248381" y="539533"/>
              <a:ext cx="107076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7" name="bk object 51">
              <a:extLst>
                <a:ext uri="{FF2B5EF4-FFF2-40B4-BE49-F238E27FC236}">
                  <a16:creationId xmlns:a16="http://schemas.microsoft.com/office/drawing/2014/main" id="{B2DEE730-A691-424B-83DB-8F9ABB759B9E}"/>
                </a:ext>
              </a:extLst>
            </p:cNvPr>
            <p:cNvSpPr/>
            <p:nvPr/>
          </p:nvSpPr>
          <p:spPr>
            <a:xfrm>
              <a:off x="2569586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8" name="bk object 52">
              <a:extLst>
                <a:ext uri="{FF2B5EF4-FFF2-40B4-BE49-F238E27FC236}">
                  <a16:creationId xmlns:a16="http://schemas.microsoft.com/office/drawing/2014/main" id="{F56FE758-C7F4-44D0-9F8D-BD9717FF2059}"/>
                </a:ext>
              </a:extLst>
            </p:cNvPr>
            <p:cNvSpPr/>
            <p:nvPr/>
          </p:nvSpPr>
          <p:spPr>
            <a:xfrm>
              <a:off x="2890791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9" name="bk object 53">
              <a:extLst>
                <a:ext uri="{FF2B5EF4-FFF2-40B4-BE49-F238E27FC236}">
                  <a16:creationId xmlns:a16="http://schemas.microsoft.com/office/drawing/2014/main" id="{C89DAE02-86D5-4145-8BD0-15FA1C2506D0}"/>
                </a:ext>
              </a:extLst>
            </p:cNvPr>
            <p:cNvSpPr/>
            <p:nvPr/>
          </p:nvSpPr>
          <p:spPr>
            <a:xfrm>
              <a:off x="0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0" name="bk object 54">
              <a:extLst>
                <a:ext uri="{FF2B5EF4-FFF2-40B4-BE49-F238E27FC236}">
                  <a16:creationId xmlns:a16="http://schemas.microsoft.com/office/drawing/2014/main" id="{1431C43F-4C04-486A-916C-1395D08E1608}"/>
                </a:ext>
              </a:extLst>
            </p:cNvPr>
            <p:cNvSpPr/>
            <p:nvPr/>
          </p:nvSpPr>
          <p:spPr>
            <a:xfrm>
              <a:off x="321172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1" name="bk object 55">
              <a:extLst>
                <a:ext uri="{FF2B5EF4-FFF2-40B4-BE49-F238E27FC236}">
                  <a16:creationId xmlns:a16="http://schemas.microsoft.com/office/drawing/2014/main" id="{6C834291-F12E-488C-982A-97A0BDD34C3F}"/>
                </a:ext>
              </a:extLst>
            </p:cNvPr>
            <p:cNvSpPr/>
            <p:nvPr/>
          </p:nvSpPr>
          <p:spPr>
            <a:xfrm>
              <a:off x="642367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2" name="bk object 56">
              <a:extLst>
                <a:ext uri="{FF2B5EF4-FFF2-40B4-BE49-F238E27FC236}">
                  <a16:creationId xmlns:a16="http://schemas.microsoft.com/office/drawing/2014/main" id="{72EC14DD-4D36-470E-B7D4-52A5BC01C99B}"/>
                </a:ext>
              </a:extLst>
            </p:cNvPr>
            <p:cNvSpPr/>
            <p:nvPr/>
          </p:nvSpPr>
          <p:spPr>
            <a:xfrm>
              <a:off x="963593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3" name="bk object 57">
              <a:extLst>
                <a:ext uri="{FF2B5EF4-FFF2-40B4-BE49-F238E27FC236}">
                  <a16:creationId xmlns:a16="http://schemas.microsoft.com/office/drawing/2014/main" id="{B8C91468-5437-4318-9CFE-FE7D44AE8398}"/>
                </a:ext>
              </a:extLst>
            </p:cNvPr>
            <p:cNvSpPr/>
            <p:nvPr/>
          </p:nvSpPr>
          <p:spPr>
            <a:xfrm>
              <a:off x="1284798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4" name="bk object 58">
              <a:extLst>
                <a:ext uri="{FF2B5EF4-FFF2-40B4-BE49-F238E27FC236}">
                  <a16:creationId xmlns:a16="http://schemas.microsoft.com/office/drawing/2014/main" id="{E5AB325E-3191-42D6-BE82-0E401B47C9AA}"/>
                </a:ext>
              </a:extLst>
            </p:cNvPr>
            <p:cNvSpPr/>
            <p:nvPr/>
          </p:nvSpPr>
          <p:spPr>
            <a:xfrm>
              <a:off x="11563174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5" name="bk object 59">
              <a:extLst>
                <a:ext uri="{FF2B5EF4-FFF2-40B4-BE49-F238E27FC236}">
                  <a16:creationId xmlns:a16="http://schemas.microsoft.com/office/drawing/2014/main" id="{A6C3C71F-5615-470B-BC0B-9020CBF97D9D}"/>
                </a:ext>
              </a:extLst>
            </p:cNvPr>
            <p:cNvSpPr/>
            <p:nvPr/>
          </p:nvSpPr>
          <p:spPr>
            <a:xfrm>
              <a:off x="11884369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6" name="bk object 60">
              <a:extLst>
                <a:ext uri="{FF2B5EF4-FFF2-40B4-BE49-F238E27FC236}">
                  <a16:creationId xmlns:a16="http://schemas.microsoft.com/office/drawing/2014/main" id="{BDD96AD9-9165-4092-9D43-4FC520694446}"/>
                </a:ext>
              </a:extLst>
            </p:cNvPr>
            <p:cNvSpPr/>
            <p:nvPr/>
          </p:nvSpPr>
          <p:spPr>
            <a:xfrm>
              <a:off x="12205575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7" name="bk object 61">
              <a:extLst>
                <a:ext uri="{FF2B5EF4-FFF2-40B4-BE49-F238E27FC236}">
                  <a16:creationId xmlns:a16="http://schemas.microsoft.com/office/drawing/2014/main" id="{E1E828EE-8376-4D52-8162-960EDEAFA234}"/>
                </a:ext>
              </a:extLst>
            </p:cNvPr>
            <p:cNvSpPr/>
            <p:nvPr/>
          </p:nvSpPr>
          <p:spPr>
            <a:xfrm>
              <a:off x="12526757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8" name="Rectangle 139">
              <a:extLst>
                <a:ext uri="{FF2B5EF4-FFF2-40B4-BE49-F238E27FC236}">
                  <a16:creationId xmlns:a16="http://schemas.microsoft.com/office/drawing/2014/main" id="{2E2E66BB-C4DA-40E4-A4E4-85DACAA55287}"/>
                </a:ext>
              </a:extLst>
            </p:cNvPr>
            <p:cNvSpPr/>
            <p:nvPr/>
          </p:nvSpPr>
          <p:spPr>
            <a:xfrm>
              <a:off x="12826047" y="3433"/>
              <a:ext cx="109890" cy="750346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9" name="Rectangle 140">
              <a:extLst>
                <a:ext uri="{FF2B5EF4-FFF2-40B4-BE49-F238E27FC236}">
                  <a16:creationId xmlns:a16="http://schemas.microsoft.com/office/drawing/2014/main" id="{24F1F6AF-A830-4378-9B47-CB98D24BE59D}"/>
                </a:ext>
              </a:extLst>
            </p:cNvPr>
            <p:cNvSpPr/>
            <p:nvPr/>
          </p:nvSpPr>
          <p:spPr>
            <a:xfrm>
              <a:off x="13148848" y="540866"/>
              <a:ext cx="106456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10" name="Rectangle 141">
              <a:extLst>
                <a:ext uri="{FF2B5EF4-FFF2-40B4-BE49-F238E27FC236}">
                  <a16:creationId xmlns:a16="http://schemas.microsoft.com/office/drawing/2014/main" id="{A61EDB3F-F79C-47F9-9035-E249DA1736B7}"/>
                </a:ext>
              </a:extLst>
            </p:cNvPr>
            <p:cNvSpPr/>
            <p:nvPr/>
          </p:nvSpPr>
          <p:spPr>
            <a:xfrm>
              <a:off x="13468218" y="540866"/>
              <a:ext cx="109890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11" name="Rectangle 142">
              <a:extLst>
                <a:ext uri="{FF2B5EF4-FFF2-40B4-BE49-F238E27FC236}">
                  <a16:creationId xmlns:a16="http://schemas.microsoft.com/office/drawing/2014/main" id="{1D9F469C-0A3F-4ACB-81E9-C9E72C494394}"/>
                </a:ext>
              </a:extLst>
            </p:cNvPr>
            <p:cNvSpPr/>
            <p:nvPr/>
          </p:nvSpPr>
          <p:spPr>
            <a:xfrm>
              <a:off x="13791020" y="540866"/>
              <a:ext cx="106456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12" name="Rectangle 143">
              <a:extLst>
                <a:ext uri="{FF2B5EF4-FFF2-40B4-BE49-F238E27FC236}">
                  <a16:creationId xmlns:a16="http://schemas.microsoft.com/office/drawing/2014/main" id="{D3BA16A5-6E0B-4E03-911A-D8A13ADF45C8}"/>
                </a:ext>
              </a:extLst>
            </p:cNvPr>
            <p:cNvSpPr/>
            <p:nvPr/>
          </p:nvSpPr>
          <p:spPr>
            <a:xfrm>
              <a:off x="14113822" y="540866"/>
              <a:ext cx="106456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13" name="Freeform 144">
              <a:extLst>
                <a:ext uri="{FF2B5EF4-FFF2-40B4-BE49-F238E27FC236}">
                  <a16:creationId xmlns:a16="http://schemas.microsoft.com/office/drawing/2014/main" id="{6564E885-BE2B-4A29-A249-7C6AB3E726A5}"/>
                </a:ext>
              </a:extLst>
            </p:cNvPr>
            <p:cNvSpPr/>
            <p:nvPr/>
          </p:nvSpPr>
          <p:spPr>
            <a:xfrm>
              <a:off x="14003931" y="3433"/>
              <a:ext cx="322803" cy="430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0"/>
                  </a:lnTo>
                  <a:lnTo>
                    <a:pt x="0" y="5335"/>
                  </a:lnTo>
                  <a:lnTo>
                    <a:pt x="7353" y="5335"/>
                  </a:lnTo>
                  <a:lnTo>
                    <a:pt x="7353" y="21600"/>
                  </a:lnTo>
                  <a:lnTo>
                    <a:pt x="14477" y="21600"/>
                  </a:lnTo>
                  <a:lnTo>
                    <a:pt x="14477" y="5335"/>
                  </a:lnTo>
                  <a:lnTo>
                    <a:pt x="21600" y="5335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14" name="Rectangle 145">
              <a:extLst>
                <a:ext uri="{FF2B5EF4-FFF2-40B4-BE49-F238E27FC236}">
                  <a16:creationId xmlns:a16="http://schemas.microsoft.com/office/drawing/2014/main" id="{5EA34C19-2297-463B-8D08-345E69C6ECC6}"/>
                </a:ext>
              </a:extLst>
            </p:cNvPr>
            <p:cNvSpPr/>
            <p:nvPr/>
          </p:nvSpPr>
          <p:spPr>
            <a:xfrm>
              <a:off x="14433190" y="3433"/>
              <a:ext cx="106456" cy="750346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15" name="Freeform 146">
              <a:extLst>
                <a:ext uri="{FF2B5EF4-FFF2-40B4-BE49-F238E27FC236}">
                  <a16:creationId xmlns:a16="http://schemas.microsoft.com/office/drawing/2014/main" id="{00DDA6ED-782E-40F6-8FB9-1CBE566DCA74}"/>
                </a:ext>
              </a:extLst>
            </p:cNvPr>
            <p:cNvSpPr/>
            <p:nvPr/>
          </p:nvSpPr>
          <p:spPr>
            <a:xfrm>
              <a:off x="13148848" y="3433"/>
              <a:ext cx="319369" cy="430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916" y="10671"/>
                  </a:moveTo>
                  <a:lnTo>
                    <a:pt x="7200" y="10671"/>
                  </a:lnTo>
                  <a:lnTo>
                    <a:pt x="7200" y="5335"/>
                  </a:lnTo>
                  <a:lnTo>
                    <a:pt x="11613" y="5335"/>
                  </a:lnTo>
                  <a:lnTo>
                    <a:pt x="12310" y="5508"/>
                  </a:lnTo>
                  <a:lnTo>
                    <a:pt x="13471" y="6196"/>
                  </a:lnTo>
                  <a:lnTo>
                    <a:pt x="14168" y="7057"/>
                  </a:lnTo>
                  <a:lnTo>
                    <a:pt x="14400" y="7401"/>
                  </a:lnTo>
                  <a:lnTo>
                    <a:pt x="14400" y="8606"/>
                  </a:lnTo>
                  <a:lnTo>
                    <a:pt x="14168" y="9122"/>
                  </a:lnTo>
                  <a:lnTo>
                    <a:pt x="13471" y="9982"/>
                  </a:lnTo>
                  <a:lnTo>
                    <a:pt x="12310" y="10499"/>
                  </a:lnTo>
                  <a:lnTo>
                    <a:pt x="11613" y="10671"/>
                  </a:lnTo>
                  <a:lnTo>
                    <a:pt x="10916" y="10671"/>
                  </a:lnTo>
                  <a:close/>
                  <a:moveTo>
                    <a:pt x="10916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7200" y="21600"/>
                  </a:lnTo>
                  <a:lnTo>
                    <a:pt x="7200" y="16006"/>
                  </a:lnTo>
                  <a:lnTo>
                    <a:pt x="10916" y="16006"/>
                  </a:lnTo>
                  <a:lnTo>
                    <a:pt x="13006" y="15834"/>
                  </a:lnTo>
                  <a:lnTo>
                    <a:pt x="15097" y="15490"/>
                  </a:lnTo>
                  <a:lnTo>
                    <a:pt x="16955" y="14629"/>
                  </a:lnTo>
                  <a:lnTo>
                    <a:pt x="18581" y="13769"/>
                  </a:lnTo>
                  <a:lnTo>
                    <a:pt x="19974" y="12564"/>
                  </a:lnTo>
                  <a:lnTo>
                    <a:pt x="20903" y="11187"/>
                  </a:lnTo>
                  <a:lnTo>
                    <a:pt x="21600" y="9638"/>
                  </a:lnTo>
                  <a:lnTo>
                    <a:pt x="21600" y="6368"/>
                  </a:lnTo>
                  <a:lnTo>
                    <a:pt x="20903" y="4819"/>
                  </a:lnTo>
                  <a:lnTo>
                    <a:pt x="19974" y="3614"/>
                  </a:lnTo>
                  <a:lnTo>
                    <a:pt x="18581" y="2410"/>
                  </a:lnTo>
                  <a:lnTo>
                    <a:pt x="16955" y="1377"/>
                  </a:lnTo>
                  <a:lnTo>
                    <a:pt x="15097" y="688"/>
                  </a:lnTo>
                  <a:lnTo>
                    <a:pt x="13006" y="172"/>
                  </a:lnTo>
                  <a:lnTo>
                    <a:pt x="10916" y="0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16" name="Freeform 149">
              <a:extLst>
                <a:ext uri="{FF2B5EF4-FFF2-40B4-BE49-F238E27FC236}">
                  <a16:creationId xmlns:a16="http://schemas.microsoft.com/office/drawing/2014/main" id="{D0B46C09-9021-44C9-8393-AB45A1F7F764}"/>
                </a:ext>
              </a:extLst>
            </p:cNvPr>
            <p:cNvSpPr/>
            <p:nvPr/>
          </p:nvSpPr>
          <p:spPr>
            <a:xfrm>
              <a:off x="13547201" y="0"/>
              <a:ext cx="367445" cy="4344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516" y="21600"/>
                  </a:moveTo>
                  <a:lnTo>
                    <a:pt x="10093" y="21429"/>
                  </a:lnTo>
                  <a:lnTo>
                    <a:pt x="7873" y="20746"/>
                  </a:lnTo>
                  <a:lnTo>
                    <a:pt x="6662" y="20405"/>
                  </a:lnTo>
                  <a:lnTo>
                    <a:pt x="5652" y="19892"/>
                  </a:lnTo>
                  <a:lnTo>
                    <a:pt x="4643" y="19124"/>
                  </a:lnTo>
                  <a:lnTo>
                    <a:pt x="2826" y="17587"/>
                  </a:lnTo>
                  <a:lnTo>
                    <a:pt x="2019" y="16734"/>
                  </a:lnTo>
                  <a:lnTo>
                    <a:pt x="1413" y="15880"/>
                  </a:lnTo>
                  <a:lnTo>
                    <a:pt x="807" y="14855"/>
                  </a:lnTo>
                  <a:lnTo>
                    <a:pt x="404" y="13831"/>
                  </a:lnTo>
                  <a:lnTo>
                    <a:pt x="0" y="11782"/>
                  </a:lnTo>
                  <a:lnTo>
                    <a:pt x="0" y="9733"/>
                  </a:lnTo>
                  <a:lnTo>
                    <a:pt x="404" y="7684"/>
                  </a:lnTo>
                  <a:lnTo>
                    <a:pt x="807" y="6659"/>
                  </a:lnTo>
                  <a:lnTo>
                    <a:pt x="1413" y="5635"/>
                  </a:lnTo>
                  <a:lnTo>
                    <a:pt x="2019" y="4781"/>
                  </a:lnTo>
                  <a:lnTo>
                    <a:pt x="2826" y="3927"/>
                  </a:lnTo>
                  <a:lnTo>
                    <a:pt x="4643" y="2391"/>
                  </a:lnTo>
                  <a:lnTo>
                    <a:pt x="5652" y="1878"/>
                  </a:lnTo>
                  <a:lnTo>
                    <a:pt x="6662" y="1195"/>
                  </a:lnTo>
                  <a:lnTo>
                    <a:pt x="7873" y="854"/>
                  </a:lnTo>
                  <a:lnTo>
                    <a:pt x="10093" y="171"/>
                  </a:lnTo>
                  <a:lnTo>
                    <a:pt x="12516" y="0"/>
                  </a:lnTo>
                  <a:lnTo>
                    <a:pt x="14938" y="171"/>
                  </a:lnTo>
                  <a:lnTo>
                    <a:pt x="18572" y="1195"/>
                  </a:lnTo>
                  <a:lnTo>
                    <a:pt x="19581" y="1878"/>
                  </a:lnTo>
                  <a:lnTo>
                    <a:pt x="20591" y="2391"/>
                  </a:lnTo>
                  <a:lnTo>
                    <a:pt x="21600" y="3244"/>
                  </a:lnTo>
                  <a:lnTo>
                    <a:pt x="17159" y="7001"/>
                  </a:lnTo>
                  <a:lnTo>
                    <a:pt x="16150" y="6318"/>
                  </a:lnTo>
                  <a:lnTo>
                    <a:pt x="14938" y="5806"/>
                  </a:lnTo>
                  <a:lnTo>
                    <a:pt x="13727" y="5464"/>
                  </a:lnTo>
                  <a:lnTo>
                    <a:pt x="12516" y="5293"/>
                  </a:lnTo>
                  <a:lnTo>
                    <a:pt x="11305" y="5464"/>
                  </a:lnTo>
                  <a:lnTo>
                    <a:pt x="10093" y="5806"/>
                  </a:lnTo>
                  <a:lnTo>
                    <a:pt x="9084" y="6318"/>
                  </a:lnTo>
                  <a:lnTo>
                    <a:pt x="8075" y="7001"/>
                  </a:lnTo>
                  <a:lnTo>
                    <a:pt x="7267" y="7855"/>
                  </a:lnTo>
                  <a:lnTo>
                    <a:pt x="6662" y="8708"/>
                  </a:lnTo>
                  <a:lnTo>
                    <a:pt x="6258" y="9733"/>
                  </a:lnTo>
                  <a:lnTo>
                    <a:pt x="6258" y="11782"/>
                  </a:lnTo>
                  <a:lnTo>
                    <a:pt x="6662" y="12806"/>
                  </a:lnTo>
                  <a:lnTo>
                    <a:pt x="7267" y="13831"/>
                  </a:lnTo>
                  <a:lnTo>
                    <a:pt x="8075" y="14514"/>
                  </a:lnTo>
                  <a:lnTo>
                    <a:pt x="9084" y="15197"/>
                  </a:lnTo>
                  <a:lnTo>
                    <a:pt x="10093" y="15709"/>
                  </a:lnTo>
                  <a:lnTo>
                    <a:pt x="11305" y="16051"/>
                  </a:lnTo>
                  <a:lnTo>
                    <a:pt x="12516" y="16221"/>
                  </a:lnTo>
                  <a:lnTo>
                    <a:pt x="13727" y="16051"/>
                  </a:lnTo>
                  <a:lnTo>
                    <a:pt x="14938" y="15709"/>
                  </a:lnTo>
                  <a:lnTo>
                    <a:pt x="16150" y="15197"/>
                  </a:lnTo>
                  <a:lnTo>
                    <a:pt x="17159" y="14514"/>
                  </a:lnTo>
                  <a:lnTo>
                    <a:pt x="21600" y="18270"/>
                  </a:lnTo>
                  <a:lnTo>
                    <a:pt x="20591" y="19124"/>
                  </a:lnTo>
                  <a:lnTo>
                    <a:pt x="19581" y="19892"/>
                  </a:lnTo>
                  <a:lnTo>
                    <a:pt x="18572" y="20405"/>
                  </a:lnTo>
                  <a:lnTo>
                    <a:pt x="14938" y="21429"/>
                  </a:lnTo>
                  <a:lnTo>
                    <a:pt x="12516" y="21600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7255857"/>
      </p:ext>
    </p:extLst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80E0CE7-1948-4421-8998-69383BE1A2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>
                <a:latin typeface="Circe Bold" panose="020B0602020203020203" pitchFamily="34" charset="-52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A92AED2-501C-4A14-A05C-44BDC560E51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Circe Light" panose="020B0402020203020203" pitchFamily="34" charset="-52"/>
              </a:defRPr>
            </a:lvl1pPr>
            <a:lvl2pPr>
              <a:defRPr>
                <a:latin typeface="Circe Light" panose="020B0402020203020203" pitchFamily="34" charset="-52"/>
              </a:defRPr>
            </a:lvl2pPr>
            <a:lvl3pPr>
              <a:defRPr>
                <a:latin typeface="Circe Light" panose="020B0402020203020203" pitchFamily="34" charset="-52"/>
              </a:defRPr>
            </a:lvl3pPr>
            <a:lvl4pPr>
              <a:defRPr>
                <a:latin typeface="Circe Light" panose="020B0402020203020203" pitchFamily="34" charset="-52"/>
              </a:defRPr>
            </a:lvl4pPr>
            <a:lvl5pPr>
              <a:defRPr>
                <a:latin typeface="Circe Light" panose="020B0402020203020203" pitchFamily="34" charset="-52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56221EF-3CB7-4FC1-A88D-33E25DD8E13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Circe Light" panose="020B0402020203020203" pitchFamily="34" charset="-52"/>
              </a:defRPr>
            </a:lvl1pPr>
            <a:lvl2pPr>
              <a:defRPr>
                <a:latin typeface="Circe Light" panose="020B0402020203020203" pitchFamily="34" charset="-52"/>
              </a:defRPr>
            </a:lvl2pPr>
            <a:lvl3pPr>
              <a:defRPr>
                <a:latin typeface="Circe Light" panose="020B0402020203020203" pitchFamily="34" charset="-52"/>
              </a:defRPr>
            </a:lvl3pPr>
            <a:lvl4pPr>
              <a:defRPr>
                <a:latin typeface="Circe Light" panose="020B0402020203020203" pitchFamily="34" charset="-52"/>
              </a:defRPr>
            </a:lvl4pPr>
            <a:lvl5pPr>
              <a:defRPr>
                <a:latin typeface="Circe Light" panose="020B0402020203020203" pitchFamily="34" charset="-52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D90BA3ED-B84F-433A-B9C3-248C79AFE4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B43C9C6-631F-4E4F-923A-D458EB6EA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7F5D898-FFF9-41A6-A296-A29113A5DC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fld id="{71C71499-DF90-4BF7-8C6F-6DD65DB4E83A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  <p:grpSp>
        <p:nvGrpSpPr>
          <p:cNvPr id="8" name="Группа 69">
            <a:extLst>
              <a:ext uri="{FF2B5EF4-FFF2-40B4-BE49-F238E27FC236}">
                <a16:creationId xmlns:a16="http://schemas.microsoft.com/office/drawing/2014/main" id="{2E03DDAC-6919-476B-B7D3-69FED151C2DF}"/>
              </a:ext>
            </a:extLst>
          </p:cNvPr>
          <p:cNvGrpSpPr/>
          <p:nvPr userDrawn="1"/>
        </p:nvGrpSpPr>
        <p:grpSpPr>
          <a:xfrm>
            <a:off x="1188976" y="6403911"/>
            <a:ext cx="9814048" cy="457574"/>
            <a:chOff x="0" y="0"/>
            <a:chExt cx="16167043" cy="753778"/>
          </a:xfrm>
          <a:solidFill>
            <a:srgbClr val="004E6B"/>
          </a:solidFill>
        </p:grpSpPr>
        <p:sp>
          <p:nvSpPr>
            <p:cNvPr id="9" name="bk object 17">
              <a:extLst>
                <a:ext uri="{FF2B5EF4-FFF2-40B4-BE49-F238E27FC236}">
                  <a16:creationId xmlns:a16="http://schemas.microsoft.com/office/drawing/2014/main" id="{68978773-785F-452A-9297-35C04879A297}"/>
                </a:ext>
              </a:extLst>
            </p:cNvPr>
            <p:cNvSpPr/>
            <p:nvPr/>
          </p:nvSpPr>
          <p:spPr>
            <a:xfrm>
              <a:off x="14775181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" name="bk object 18">
              <a:extLst>
                <a:ext uri="{FF2B5EF4-FFF2-40B4-BE49-F238E27FC236}">
                  <a16:creationId xmlns:a16="http://schemas.microsoft.com/office/drawing/2014/main" id="{41DAAB11-0AEE-4443-9DDC-4D709BE15359}"/>
                </a:ext>
              </a:extLst>
            </p:cNvPr>
            <p:cNvSpPr/>
            <p:nvPr/>
          </p:nvSpPr>
          <p:spPr>
            <a:xfrm>
              <a:off x="15096387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1" name="bk object 19">
              <a:extLst>
                <a:ext uri="{FF2B5EF4-FFF2-40B4-BE49-F238E27FC236}">
                  <a16:creationId xmlns:a16="http://schemas.microsoft.com/office/drawing/2014/main" id="{ADE761B2-84F7-4237-ADA9-E6B57D21014E}"/>
                </a:ext>
              </a:extLst>
            </p:cNvPr>
            <p:cNvSpPr/>
            <p:nvPr/>
          </p:nvSpPr>
          <p:spPr>
            <a:xfrm>
              <a:off x="15417570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2" name="bk object 20">
              <a:extLst>
                <a:ext uri="{FF2B5EF4-FFF2-40B4-BE49-F238E27FC236}">
                  <a16:creationId xmlns:a16="http://schemas.microsoft.com/office/drawing/2014/main" id="{1AC3FD07-E378-43F2-BA3C-8DE62035CF8E}"/>
                </a:ext>
              </a:extLst>
            </p:cNvPr>
            <p:cNvSpPr/>
            <p:nvPr/>
          </p:nvSpPr>
          <p:spPr>
            <a:xfrm>
              <a:off x="15738786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3" name="bk object 21">
              <a:extLst>
                <a:ext uri="{FF2B5EF4-FFF2-40B4-BE49-F238E27FC236}">
                  <a16:creationId xmlns:a16="http://schemas.microsoft.com/office/drawing/2014/main" id="{D9C73043-E996-44C2-B25F-A67ED9A999DA}"/>
                </a:ext>
              </a:extLst>
            </p:cNvPr>
            <p:cNvSpPr/>
            <p:nvPr/>
          </p:nvSpPr>
          <p:spPr>
            <a:xfrm>
              <a:off x="16059980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4" name="bk object 22">
              <a:extLst>
                <a:ext uri="{FF2B5EF4-FFF2-40B4-BE49-F238E27FC236}">
                  <a16:creationId xmlns:a16="http://schemas.microsoft.com/office/drawing/2014/main" id="{758F802A-D626-4F48-84BD-D37A0DB94B80}"/>
                </a:ext>
              </a:extLst>
            </p:cNvPr>
            <p:cNvSpPr/>
            <p:nvPr/>
          </p:nvSpPr>
          <p:spPr>
            <a:xfrm>
              <a:off x="9635978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5" name="bk object 23">
              <a:extLst>
                <a:ext uri="{FF2B5EF4-FFF2-40B4-BE49-F238E27FC236}">
                  <a16:creationId xmlns:a16="http://schemas.microsoft.com/office/drawing/2014/main" id="{1D0A6E12-5D47-4E31-BF6D-CBB192C1FB71}"/>
                </a:ext>
              </a:extLst>
            </p:cNvPr>
            <p:cNvSpPr/>
            <p:nvPr/>
          </p:nvSpPr>
          <p:spPr>
            <a:xfrm>
              <a:off x="9957182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6" name="bk object 24">
              <a:extLst>
                <a:ext uri="{FF2B5EF4-FFF2-40B4-BE49-F238E27FC236}">
                  <a16:creationId xmlns:a16="http://schemas.microsoft.com/office/drawing/2014/main" id="{FC52C390-8044-40E8-A266-5E4BA90823D7}"/>
                </a:ext>
              </a:extLst>
            </p:cNvPr>
            <p:cNvSpPr/>
            <p:nvPr/>
          </p:nvSpPr>
          <p:spPr>
            <a:xfrm>
              <a:off x="10278377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7" name="bk object 25">
              <a:extLst>
                <a:ext uri="{FF2B5EF4-FFF2-40B4-BE49-F238E27FC236}">
                  <a16:creationId xmlns:a16="http://schemas.microsoft.com/office/drawing/2014/main" id="{1F583FD2-DBE8-4499-8D3D-142B6F272D24}"/>
                </a:ext>
              </a:extLst>
            </p:cNvPr>
            <p:cNvSpPr/>
            <p:nvPr/>
          </p:nvSpPr>
          <p:spPr>
            <a:xfrm>
              <a:off x="10599570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8" name="bk object 26">
              <a:extLst>
                <a:ext uri="{FF2B5EF4-FFF2-40B4-BE49-F238E27FC236}">
                  <a16:creationId xmlns:a16="http://schemas.microsoft.com/office/drawing/2014/main" id="{FD01378E-8907-47EA-B5C7-3AB3D44D1E30}"/>
                </a:ext>
              </a:extLst>
            </p:cNvPr>
            <p:cNvSpPr/>
            <p:nvPr/>
          </p:nvSpPr>
          <p:spPr>
            <a:xfrm>
              <a:off x="10920765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9" name="bk object 27">
              <a:extLst>
                <a:ext uri="{FF2B5EF4-FFF2-40B4-BE49-F238E27FC236}">
                  <a16:creationId xmlns:a16="http://schemas.microsoft.com/office/drawing/2014/main" id="{2F8F6A8E-7378-4A06-BC98-A2B4FE93C4C2}"/>
                </a:ext>
              </a:extLst>
            </p:cNvPr>
            <p:cNvSpPr/>
            <p:nvPr/>
          </p:nvSpPr>
          <p:spPr>
            <a:xfrm>
              <a:off x="11241981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0" name="bk object 28">
              <a:extLst>
                <a:ext uri="{FF2B5EF4-FFF2-40B4-BE49-F238E27FC236}">
                  <a16:creationId xmlns:a16="http://schemas.microsoft.com/office/drawing/2014/main" id="{BB93C75F-32E8-4409-B711-40B619099C5B}"/>
                </a:ext>
              </a:extLst>
            </p:cNvPr>
            <p:cNvSpPr/>
            <p:nvPr/>
          </p:nvSpPr>
          <p:spPr>
            <a:xfrm>
              <a:off x="8029985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1" name="bk object 29">
              <a:extLst>
                <a:ext uri="{FF2B5EF4-FFF2-40B4-BE49-F238E27FC236}">
                  <a16:creationId xmlns:a16="http://schemas.microsoft.com/office/drawing/2014/main" id="{D57A8799-2D02-46C6-8664-9C3E3FEC904D}"/>
                </a:ext>
              </a:extLst>
            </p:cNvPr>
            <p:cNvSpPr/>
            <p:nvPr/>
          </p:nvSpPr>
          <p:spPr>
            <a:xfrm>
              <a:off x="8351179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2" name="bk object 30">
              <a:extLst>
                <a:ext uri="{FF2B5EF4-FFF2-40B4-BE49-F238E27FC236}">
                  <a16:creationId xmlns:a16="http://schemas.microsoft.com/office/drawing/2014/main" id="{C6C490F6-A2CE-44B9-9D84-5FCC9A444016}"/>
                </a:ext>
              </a:extLst>
            </p:cNvPr>
            <p:cNvSpPr/>
            <p:nvPr/>
          </p:nvSpPr>
          <p:spPr>
            <a:xfrm>
              <a:off x="8672372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3" name="bk object 31">
              <a:extLst>
                <a:ext uri="{FF2B5EF4-FFF2-40B4-BE49-F238E27FC236}">
                  <a16:creationId xmlns:a16="http://schemas.microsoft.com/office/drawing/2014/main" id="{C5DA678A-EB87-4E91-9DB9-58FDB7B9F821}"/>
                </a:ext>
              </a:extLst>
            </p:cNvPr>
            <p:cNvSpPr/>
            <p:nvPr/>
          </p:nvSpPr>
          <p:spPr>
            <a:xfrm>
              <a:off x="8993589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4" name="bk object 32">
              <a:extLst>
                <a:ext uri="{FF2B5EF4-FFF2-40B4-BE49-F238E27FC236}">
                  <a16:creationId xmlns:a16="http://schemas.microsoft.com/office/drawing/2014/main" id="{94C788A0-AF03-4DC7-92A2-D825644C4C6B}"/>
                </a:ext>
              </a:extLst>
            </p:cNvPr>
            <p:cNvSpPr/>
            <p:nvPr/>
          </p:nvSpPr>
          <p:spPr>
            <a:xfrm>
              <a:off x="9314783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5" name="bk object 33">
              <a:extLst>
                <a:ext uri="{FF2B5EF4-FFF2-40B4-BE49-F238E27FC236}">
                  <a16:creationId xmlns:a16="http://schemas.microsoft.com/office/drawing/2014/main" id="{06EB1670-6548-4EBD-8D59-B50B0415D537}"/>
                </a:ext>
              </a:extLst>
            </p:cNvPr>
            <p:cNvSpPr/>
            <p:nvPr/>
          </p:nvSpPr>
          <p:spPr>
            <a:xfrm>
              <a:off x="6423971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6" name="bk object 34">
              <a:extLst>
                <a:ext uri="{FF2B5EF4-FFF2-40B4-BE49-F238E27FC236}">
                  <a16:creationId xmlns:a16="http://schemas.microsoft.com/office/drawing/2014/main" id="{E64D65FD-632B-4316-82A2-F016548FAEE4}"/>
                </a:ext>
              </a:extLst>
            </p:cNvPr>
            <p:cNvSpPr/>
            <p:nvPr/>
          </p:nvSpPr>
          <p:spPr>
            <a:xfrm>
              <a:off x="6745186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7" name="bk object 35">
              <a:extLst>
                <a:ext uri="{FF2B5EF4-FFF2-40B4-BE49-F238E27FC236}">
                  <a16:creationId xmlns:a16="http://schemas.microsoft.com/office/drawing/2014/main" id="{91E9E8DD-789B-4C19-A50B-A44861C90A4D}"/>
                </a:ext>
              </a:extLst>
            </p:cNvPr>
            <p:cNvSpPr/>
            <p:nvPr/>
          </p:nvSpPr>
          <p:spPr>
            <a:xfrm>
              <a:off x="7066381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8" name="bk object 36">
              <a:extLst>
                <a:ext uri="{FF2B5EF4-FFF2-40B4-BE49-F238E27FC236}">
                  <a16:creationId xmlns:a16="http://schemas.microsoft.com/office/drawing/2014/main" id="{7D2F542B-C623-4E50-9076-94A2FDD0BCDC}"/>
                </a:ext>
              </a:extLst>
            </p:cNvPr>
            <p:cNvSpPr/>
            <p:nvPr/>
          </p:nvSpPr>
          <p:spPr>
            <a:xfrm>
              <a:off x="7387554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9" name="bk object 37">
              <a:extLst>
                <a:ext uri="{FF2B5EF4-FFF2-40B4-BE49-F238E27FC236}">
                  <a16:creationId xmlns:a16="http://schemas.microsoft.com/office/drawing/2014/main" id="{1FA49F79-DA9E-4537-A9DE-264CF5B43746}"/>
                </a:ext>
              </a:extLst>
            </p:cNvPr>
            <p:cNvSpPr/>
            <p:nvPr/>
          </p:nvSpPr>
          <p:spPr>
            <a:xfrm>
              <a:off x="7708790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0" name="bk object 38">
              <a:extLst>
                <a:ext uri="{FF2B5EF4-FFF2-40B4-BE49-F238E27FC236}">
                  <a16:creationId xmlns:a16="http://schemas.microsoft.com/office/drawing/2014/main" id="{CA0B2AF2-7EF8-4525-8269-EFBC3D531BF9}"/>
                </a:ext>
              </a:extLst>
            </p:cNvPr>
            <p:cNvSpPr/>
            <p:nvPr/>
          </p:nvSpPr>
          <p:spPr>
            <a:xfrm>
              <a:off x="4817978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1" name="bk object 39">
              <a:extLst>
                <a:ext uri="{FF2B5EF4-FFF2-40B4-BE49-F238E27FC236}">
                  <a16:creationId xmlns:a16="http://schemas.microsoft.com/office/drawing/2014/main" id="{24456AE7-755F-4007-AE14-5958DA25A82D}"/>
                </a:ext>
              </a:extLst>
            </p:cNvPr>
            <p:cNvSpPr/>
            <p:nvPr/>
          </p:nvSpPr>
          <p:spPr>
            <a:xfrm>
              <a:off x="5139172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2" name="bk object 40">
              <a:extLst>
                <a:ext uri="{FF2B5EF4-FFF2-40B4-BE49-F238E27FC236}">
                  <a16:creationId xmlns:a16="http://schemas.microsoft.com/office/drawing/2014/main" id="{2B378795-CF0F-4C99-9AFA-1D76241651DB}"/>
                </a:ext>
              </a:extLst>
            </p:cNvPr>
            <p:cNvSpPr/>
            <p:nvPr/>
          </p:nvSpPr>
          <p:spPr>
            <a:xfrm>
              <a:off x="5460366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3" name="bk object 41">
              <a:extLst>
                <a:ext uri="{FF2B5EF4-FFF2-40B4-BE49-F238E27FC236}">
                  <a16:creationId xmlns:a16="http://schemas.microsoft.com/office/drawing/2014/main" id="{B3AD30EB-B8DB-4512-A41A-3261D6A5BAFB}"/>
                </a:ext>
              </a:extLst>
            </p:cNvPr>
            <p:cNvSpPr/>
            <p:nvPr/>
          </p:nvSpPr>
          <p:spPr>
            <a:xfrm>
              <a:off x="5781561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4" name="bk object 42">
              <a:extLst>
                <a:ext uri="{FF2B5EF4-FFF2-40B4-BE49-F238E27FC236}">
                  <a16:creationId xmlns:a16="http://schemas.microsoft.com/office/drawing/2014/main" id="{DEE8DC42-5915-4012-8387-7F6C2997DC27}"/>
                </a:ext>
              </a:extLst>
            </p:cNvPr>
            <p:cNvSpPr/>
            <p:nvPr/>
          </p:nvSpPr>
          <p:spPr>
            <a:xfrm>
              <a:off x="6102777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5" name="bk object 43">
              <a:extLst>
                <a:ext uri="{FF2B5EF4-FFF2-40B4-BE49-F238E27FC236}">
                  <a16:creationId xmlns:a16="http://schemas.microsoft.com/office/drawing/2014/main" id="{70F18D48-1EA9-4A5A-A60C-94999451C20D}"/>
                </a:ext>
              </a:extLst>
            </p:cNvPr>
            <p:cNvSpPr/>
            <p:nvPr/>
          </p:nvSpPr>
          <p:spPr>
            <a:xfrm>
              <a:off x="3211985" y="432467"/>
              <a:ext cx="107065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6" name="bk object 44">
              <a:extLst>
                <a:ext uri="{FF2B5EF4-FFF2-40B4-BE49-F238E27FC236}">
                  <a16:creationId xmlns:a16="http://schemas.microsoft.com/office/drawing/2014/main" id="{99CC3275-9D5E-4885-9E5D-F50D5DDE28F3}"/>
                </a:ext>
              </a:extLst>
            </p:cNvPr>
            <p:cNvSpPr/>
            <p:nvPr/>
          </p:nvSpPr>
          <p:spPr>
            <a:xfrm>
              <a:off x="3533179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7" name="bk object 45">
              <a:extLst>
                <a:ext uri="{FF2B5EF4-FFF2-40B4-BE49-F238E27FC236}">
                  <a16:creationId xmlns:a16="http://schemas.microsoft.com/office/drawing/2014/main" id="{C24031E2-AE1E-4B6B-844B-E8A6FDF7BB8E}"/>
                </a:ext>
              </a:extLst>
            </p:cNvPr>
            <p:cNvSpPr/>
            <p:nvPr/>
          </p:nvSpPr>
          <p:spPr>
            <a:xfrm>
              <a:off x="3854374" y="539533"/>
              <a:ext cx="107076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8" name="bk object 46">
              <a:extLst>
                <a:ext uri="{FF2B5EF4-FFF2-40B4-BE49-F238E27FC236}">
                  <a16:creationId xmlns:a16="http://schemas.microsoft.com/office/drawing/2014/main" id="{32BFB1FD-B7B6-4160-ADE7-993F508C97DA}"/>
                </a:ext>
              </a:extLst>
            </p:cNvPr>
            <p:cNvSpPr/>
            <p:nvPr/>
          </p:nvSpPr>
          <p:spPr>
            <a:xfrm>
              <a:off x="4175578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9" name="bk object 47">
              <a:extLst>
                <a:ext uri="{FF2B5EF4-FFF2-40B4-BE49-F238E27FC236}">
                  <a16:creationId xmlns:a16="http://schemas.microsoft.com/office/drawing/2014/main" id="{D6C26703-B459-4953-88A5-5FC03A4B447A}"/>
                </a:ext>
              </a:extLst>
            </p:cNvPr>
            <p:cNvSpPr/>
            <p:nvPr/>
          </p:nvSpPr>
          <p:spPr>
            <a:xfrm>
              <a:off x="4496784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0" name="bk object 48">
              <a:extLst>
                <a:ext uri="{FF2B5EF4-FFF2-40B4-BE49-F238E27FC236}">
                  <a16:creationId xmlns:a16="http://schemas.microsoft.com/office/drawing/2014/main" id="{703A4CCD-C261-4995-9B10-EFA2F4EA561C}"/>
                </a:ext>
              </a:extLst>
            </p:cNvPr>
            <p:cNvSpPr/>
            <p:nvPr/>
          </p:nvSpPr>
          <p:spPr>
            <a:xfrm>
              <a:off x="1605992" y="432467"/>
              <a:ext cx="107065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1" name="bk object 49">
              <a:extLst>
                <a:ext uri="{FF2B5EF4-FFF2-40B4-BE49-F238E27FC236}">
                  <a16:creationId xmlns:a16="http://schemas.microsoft.com/office/drawing/2014/main" id="{38364EAB-1AA1-4F1D-86FE-88378BEBC6F5}"/>
                </a:ext>
              </a:extLst>
            </p:cNvPr>
            <p:cNvSpPr/>
            <p:nvPr/>
          </p:nvSpPr>
          <p:spPr>
            <a:xfrm>
              <a:off x="1927186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2" name="bk object 50">
              <a:extLst>
                <a:ext uri="{FF2B5EF4-FFF2-40B4-BE49-F238E27FC236}">
                  <a16:creationId xmlns:a16="http://schemas.microsoft.com/office/drawing/2014/main" id="{C87DF190-469E-42E2-972E-44198B4C3865}"/>
                </a:ext>
              </a:extLst>
            </p:cNvPr>
            <p:cNvSpPr/>
            <p:nvPr/>
          </p:nvSpPr>
          <p:spPr>
            <a:xfrm>
              <a:off x="2248381" y="539533"/>
              <a:ext cx="107076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3" name="bk object 51">
              <a:extLst>
                <a:ext uri="{FF2B5EF4-FFF2-40B4-BE49-F238E27FC236}">
                  <a16:creationId xmlns:a16="http://schemas.microsoft.com/office/drawing/2014/main" id="{DA92191F-D021-4DDE-9758-808A0F75F7F2}"/>
                </a:ext>
              </a:extLst>
            </p:cNvPr>
            <p:cNvSpPr/>
            <p:nvPr/>
          </p:nvSpPr>
          <p:spPr>
            <a:xfrm>
              <a:off x="2569586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4" name="bk object 52">
              <a:extLst>
                <a:ext uri="{FF2B5EF4-FFF2-40B4-BE49-F238E27FC236}">
                  <a16:creationId xmlns:a16="http://schemas.microsoft.com/office/drawing/2014/main" id="{45A0EE98-BC91-452A-960E-192D0DDF62DF}"/>
                </a:ext>
              </a:extLst>
            </p:cNvPr>
            <p:cNvSpPr/>
            <p:nvPr/>
          </p:nvSpPr>
          <p:spPr>
            <a:xfrm>
              <a:off x="2890791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5" name="bk object 53">
              <a:extLst>
                <a:ext uri="{FF2B5EF4-FFF2-40B4-BE49-F238E27FC236}">
                  <a16:creationId xmlns:a16="http://schemas.microsoft.com/office/drawing/2014/main" id="{CED54CDC-61E6-48F4-B9CC-6EBC907BDE9B}"/>
                </a:ext>
              </a:extLst>
            </p:cNvPr>
            <p:cNvSpPr/>
            <p:nvPr/>
          </p:nvSpPr>
          <p:spPr>
            <a:xfrm>
              <a:off x="0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6" name="bk object 54">
              <a:extLst>
                <a:ext uri="{FF2B5EF4-FFF2-40B4-BE49-F238E27FC236}">
                  <a16:creationId xmlns:a16="http://schemas.microsoft.com/office/drawing/2014/main" id="{D59F792F-DC61-493E-9BD0-2B5111B9FB7B}"/>
                </a:ext>
              </a:extLst>
            </p:cNvPr>
            <p:cNvSpPr/>
            <p:nvPr/>
          </p:nvSpPr>
          <p:spPr>
            <a:xfrm>
              <a:off x="321172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7" name="bk object 55">
              <a:extLst>
                <a:ext uri="{FF2B5EF4-FFF2-40B4-BE49-F238E27FC236}">
                  <a16:creationId xmlns:a16="http://schemas.microsoft.com/office/drawing/2014/main" id="{C8A54F0F-7B44-45E3-AF17-3C142293BFD9}"/>
                </a:ext>
              </a:extLst>
            </p:cNvPr>
            <p:cNvSpPr/>
            <p:nvPr/>
          </p:nvSpPr>
          <p:spPr>
            <a:xfrm>
              <a:off x="642367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8" name="bk object 56">
              <a:extLst>
                <a:ext uri="{FF2B5EF4-FFF2-40B4-BE49-F238E27FC236}">
                  <a16:creationId xmlns:a16="http://schemas.microsoft.com/office/drawing/2014/main" id="{74AD910F-A270-4D3D-AA76-32D5626D8771}"/>
                </a:ext>
              </a:extLst>
            </p:cNvPr>
            <p:cNvSpPr/>
            <p:nvPr/>
          </p:nvSpPr>
          <p:spPr>
            <a:xfrm>
              <a:off x="963593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9" name="bk object 57">
              <a:extLst>
                <a:ext uri="{FF2B5EF4-FFF2-40B4-BE49-F238E27FC236}">
                  <a16:creationId xmlns:a16="http://schemas.microsoft.com/office/drawing/2014/main" id="{579282C6-D4C7-4949-BD61-FDF94103CDC0}"/>
                </a:ext>
              </a:extLst>
            </p:cNvPr>
            <p:cNvSpPr/>
            <p:nvPr/>
          </p:nvSpPr>
          <p:spPr>
            <a:xfrm>
              <a:off x="1284798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0" name="bk object 58">
              <a:extLst>
                <a:ext uri="{FF2B5EF4-FFF2-40B4-BE49-F238E27FC236}">
                  <a16:creationId xmlns:a16="http://schemas.microsoft.com/office/drawing/2014/main" id="{7C0C9016-325A-4A9F-B58E-D958F9B4663B}"/>
                </a:ext>
              </a:extLst>
            </p:cNvPr>
            <p:cNvSpPr/>
            <p:nvPr/>
          </p:nvSpPr>
          <p:spPr>
            <a:xfrm>
              <a:off x="11563174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1" name="bk object 59">
              <a:extLst>
                <a:ext uri="{FF2B5EF4-FFF2-40B4-BE49-F238E27FC236}">
                  <a16:creationId xmlns:a16="http://schemas.microsoft.com/office/drawing/2014/main" id="{82E70741-51C6-4CB1-80B4-50544A1B3FBE}"/>
                </a:ext>
              </a:extLst>
            </p:cNvPr>
            <p:cNvSpPr/>
            <p:nvPr/>
          </p:nvSpPr>
          <p:spPr>
            <a:xfrm>
              <a:off x="11884369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2" name="bk object 60">
              <a:extLst>
                <a:ext uri="{FF2B5EF4-FFF2-40B4-BE49-F238E27FC236}">
                  <a16:creationId xmlns:a16="http://schemas.microsoft.com/office/drawing/2014/main" id="{C82F1910-E562-49AE-8E36-671A9E7C8D8D}"/>
                </a:ext>
              </a:extLst>
            </p:cNvPr>
            <p:cNvSpPr/>
            <p:nvPr/>
          </p:nvSpPr>
          <p:spPr>
            <a:xfrm>
              <a:off x="12205575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3" name="bk object 61">
              <a:extLst>
                <a:ext uri="{FF2B5EF4-FFF2-40B4-BE49-F238E27FC236}">
                  <a16:creationId xmlns:a16="http://schemas.microsoft.com/office/drawing/2014/main" id="{076D7A46-2ED3-4FE9-9537-67EAE3CC4DD8}"/>
                </a:ext>
              </a:extLst>
            </p:cNvPr>
            <p:cNvSpPr/>
            <p:nvPr/>
          </p:nvSpPr>
          <p:spPr>
            <a:xfrm>
              <a:off x="12526757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4" name="Rectangle 139">
              <a:extLst>
                <a:ext uri="{FF2B5EF4-FFF2-40B4-BE49-F238E27FC236}">
                  <a16:creationId xmlns:a16="http://schemas.microsoft.com/office/drawing/2014/main" id="{CD01BB45-4E60-46F3-93C5-95D7BBFB9C96}"/>
                </a:ext>
              </a:extLst>
            </p:cNvPr>
            <p:cNvSpPr/>
            <p:nvPr/>
          </p:nvSpPr>
          <p:spPr>
            <a:xfrm>
              <a:off x="12826047" y="3433"/>
              <a:ext cx="109890" cy="750346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5" name="Rectangle 140">
              <a:extLst>
                <a:ext uri="{FF2B5EF4-FFF2-40B4-BE49-F238E27FC236}">
                  <a16:creationId xmlns:a16="http://schemas.microsoft.com/office/drawing/2014/main" id="{01716827-339C-408C-8B53-D6640A844687}"/>
                </a:ext>
              </a:extLst>
            </p:cNvPr>
            <p:cNvSpPr/>
            <p:nvPr/>
          </p:nvSpPr>
          <p:spPr>
            <a:xfrm>
              <a:off x="13148848" y="540866"/>
              <a:ext cx="106456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6" name="Rectangle 141">
              <a:extLst>
                <a:ext uri="{FF2B5EF4-FFF2-40B4-BE49-F238E27FC236}">
                  <a16:creationId xmlns:a16="http://schemas.microsoft.com/office/drawing/2014/main" id="{F21BF695-E887-4CB8-8FFC-6A41E26AD194}"/>
                </a:ext>
              </a:extLst>
            </p:cNvPr>
            <p:cNvSpPr/>
            <p:nvPr/>
          </p:nvSpPr>
          <p:spPr>
            <a:xfrm>
              <a:off x="13468218" y="540866"/>
              <a:ext cx="109890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7" name="Rectangle 142">
              <a:extLst>
                <a:ext uri="{FF2B5EF4-FFF2-40B4-BE49-F238E27FC236}">
                  <a16:creationId xmlns:a16="http://schemas.microsoft.com/office/drawing/2014/main" id="{C3A952A5-8EB6-4B32-82DB-8BB20877EF95}"/>
                </a:ext>
              </a:extLst>
            </p:cNvPr>
            <p:cNvSpPr/>
            <p:nvPr/>
          </p:nvSpPr>
          <p:spPr>
            <a:xfrm>
              <a:off x="13791020" y="540866"/>
              <a:ext cx="106456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8" name="Rectangle 143">
              <a:extLst>
                <a:ext uri="{FF2B5EF4-FFF2-40B4-BE49-F238E27FC236}">
                  <a16:creationId xmlns:a16="http://schemas.microsoft.com/office/drawing/2014/main" id="{587107FC-9B72-4863-95B8-265C4EC007CD}"/>
                </a:ext>
              </a:extLst>
            </p:cNvPr>
            <p:cNvSpPr/>
            <p:nvPr/>
          </p:nvSpPr>
          <p:spPr>
            <a:xfrm>
              <a:off x="14113822" y="540866"/>
              <a:ext cx="106456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9" name="Freeform 144">
              <a:extLst>
                <a:ext uri="{FF2B5EF4-FFF2-40B4-BE49-F238E27FC236}">
                  <a16:creationId xmlns:a16="http://schemas.microsoft.com/office/drawing/2014/main" id="{18AF2538-9A84-4DE1-AFAE-9950835C817F}"/>
                </a:ext>
              </a:extLst>
            </p:cNvPr>
            <p:cNvSpPr/>
            <p:nvPr/>
          </p:nvSpPr>
          <p:spPr>
            <a:xfrm>
              <a:off x="14003931" y="3433"/>
              <a:ext cx="322803" cy="430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0"/>
                  </a:lnTo>
                  <a:lnTo>
                    <a:pt x="0" y="5335"/>
                  </a:lnTo>
                  <a:lnTo>
                    <a:pt x="7353" y="5335"/>
                  </a:lnTo>
                  <a:lnTo>
                    <a:pt x="7353" y="21600"/>
                  </a:lnTo>
                  <a:lnTo>
                    <a:pt x="14477" y="21600"/>
                  </a:lnTo>
                  <a:lnTo>
                    <a:pt x="14477" y="5335"/>
                  </a:lnTo>
                  <a:lnTo>
                    <a:pt x="21600" y="5335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0" name="Rectangle 145">
              <a:extLst>
                <a:ext uri="{FF2B5EF4-FFF2-40B4-BE49-F238E27FC236}">
                  <a16:creationId xmlns:a16="http://schemas.microsoft.com/office/drawing/2014/main" id="{125E62EB-5A2D-4276-9FAC-212DB6876BE9}"/>
                </a:ext>
              </a:extLst>
            </p:cNvPr>
            <p:cNvSpPr/>
            <p:nvPr/>
          </p:nvSpPr>
          <p:spPr>
            <a:xfrm>
              <a:off x="14433190" y="3433"/>
              <a:ext cx="106456" cy="750346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1" name="Freeform 146">
              <a:extLst>
                <a:ext uri="{FF2B5EF4-FFF2-40B4-BE49-F238E27FC236}">
                  <a16:creationId xmlns:a16="http://schemas.microsoft.com/office/drawing/2014/main" id="{4737BE80-4EDE-4DF0-849A-F92FAEFA1E7E}"/>
                </a:ext>
              </a:extLst>
            </p:cNvPr>
            <p:cNvSpPr/>
            <p:nvPr/>
          </p:nvSpPr>
          <p:spPr>
            <a:xfrm>
              <a:off x="13148848" y="3433"/>
              <a:ext cx="319369" cy="430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916" y="10671"/>
                  </a:moveTo>
                  <a:lnTo>
                    <a:pt x="7200" y="10671"/>
                  </a:lnTo>
                  <a:lnTo>
                    <a:pt x="7200" y="5335"/>
                  </a:lnTo>
                  <a:lnTo>
                    <a:pt x="11613" y="5335"/>
                  </a:lnTo>
                  <a:lnTo>
                    <a:pt x="12310" y="5508"/>
                  </a:lnTo>
                  <a:lnTo>
                    <a:pt x="13471" y="6196"/>
                  </a:lnTo>
                  <a:lnTo>
                    <a:pt x="14168" y="7057"/>
                  </a:lnTo>
                  <a:lnTo>
                    <a:pt x="14400" y="7401"/>
                  </a:lnTo>
                  <a:lnTo>
                    <a:pt x="14400" y="8606"/>
                  </a:lnTo>
                  <a:lnTo>
                    <a:pt x="14168" y="9122"/>
                  </a:lnTo>
                  <a:lnTo>
                    <a:pt x="13471" y="9982"/>
                  </a:lnTo>
                  <a:lnTo>
                    <a:pt x="12310" y="10499"/>
                  </a:lnTo>
                  <a:lnTo>
                    <a:pt x="11613" y="10671"/>
                  </a:lnTo>
                  <a:lnTo>
                    <a:pt x="10916" y="10671"/>
                  </a:lnTo>
                  <a:close/>
                  <a:moveTo>
                    <a:pt x="10916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7200" y="21600"/>
                  </a:lnTo>
                  <a:lnTo>
                    <a:pt x="7200" y="16006"/>
                  </a:lnTo>
                  <a:lnTo>
                    <a:pt x="10916" y="16006"/>
                  </a:lnTo>
                  <a:lnTo>
                    <a:pt x="13006" y="15834"/>
                  </a:lnTo>
                  <a:lnTo>
                    <a:pt x="15097" y="15490"/>
                  </a:lnTo>
                  <a:lnTo>
                    <a:pt x="16955" y="14629"/>
                  </a:lnTo>
                  <a:lnTo>
                    <a:pt x="18581" y="13769"/>
                  </a:lnTo>
                  <a:lnTo>
                    <a:pt x="19974" y="12564"/>
                  </a:lnTo>
                  <a:lnTo>
                    <a:pt x="20903" y="11187"/>
                  </a:lnTo>
                  <a:lnTo>
                    <a:pt x="21600" y="9638"/>
                  </a:lnTo>
                  <a:lnTo>
                    <a:pt x="21600" y="6368"/>
                  </a:lnTo>
                  <a:lnTo>
                    <a:pt x="20903" y="4819"/>
                  </a:lnTo>
                  <a:lnTo>
                    <a:pt x="19974" y="3614"/>
                  </a:lnTo>
                  <a:lnTo>
                    <a:pt x="18581" y="2410"/>
                  </a:lnTo>
                  <a:lnTo>
                    <a:pt x="16955" y="1377"/>
                  </a:lnTo>
                  <a:lnTo>
                    <a:pt x="15097" y="688"/>
                  </a:lnTo>
                  <a:lnTo>
                    <a:pt x="13006" y="172"/>
                  </a:lnTo>
                  <a:lnTo>
                    <a:pt x="10916" y="0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2" name="Freeform 149">
              <a:extLst>
                <a:ext uri="{FF2B5EF4-FFF2-40B4-BE49-F238E27FC236}">
                  <a16:creationId xmlns:a16="http://schemas.microsoft.com/office/drawing/2014/main" id="{7AC7D60B-8804-49E7-8BEC-4A8626AD2BCE}"/>
                </a:ext>
              </a:extLst>
            </p:cNvPr>
            <p:cNvSpPr/>
            <p:nvPr/>
          </p:nvSpPr>
          <p:spPr>
            <a:xfrm>
              <a:off x="13547201" y="0"/>
              <a:ext cx="367445" cy="4344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516" y="21600"/>
                  </a:moveTo>
                  <a:lnTo>
                    <a:pt x="10093" y="21429"/>
                  </a:lnTo>
                  <a:lnTo>
                    <a:pt x="7873" y="20746"/>
                  </a:lnTo>
                  <a:lnTo>
                    <a:pt x="6662" y="20405"/>
                  </a:lnTo>
                  <a:lnTo>
                    <a:pt x="5652" y="19892"/>
                  </a:lnTo>
                  <a:lnTo>
                    <a:pt x="4643" y="19124"/>
                  </a:lnTo>
                  <a:lnTo>
                    <a:pt x="2826" y="17587"/>
                  </a:lnTo>
                  <a:lnTo>
                    <a:pt x="2019" y="16734"/>
                  </a:lnTo>
                  <a:lnTo>
                    <a:pt x="1413" y="15880"/>
                  </a:lnTo>
                  <a:lnTo>
                    <a:pt x="807" y="14855"/>
                  </a:lnTo>
                  <a:lnTo>
                    <a:pt x="404" y="13831"/>
                  </a:lnTo>
                  <a:lnTo>
                    <a:pt x="0" y="11782"/>
                  </a:lnTo>
                  <a:lnTo>
                    <a:pt x="0" y="9733"/>
                  </a:lnTo>
                  <a:lnTo>
                    <a:pt x="404" y="7684"/>
                  </a:lnTo>
                  <a:lnTo>
                    <a:pt x="807" y="6659"/>
                  </a:lnTo>
                  <a:lnTo>
                    <a:pt x="1413" y="5635"/>
                  </a:lnTo>
                  <a:lnTo>
                    <a:pt x="2019" y="4781"/>
                  </a:lnTo>
                  <a:lnTo>
                    <a:pt x="2826" y="3927"/>
                  </a:lnTo>
                  <a:lnTo>
                    <a:pt x="4643" y="2391"/>
                  </a:lnTo>
                  <a:lnTo>
                    <a:pt x="5652" y="1878"/>
                  </a:lnTo>
                  <a:lnTo>
                    <a:pt x="6662" y="1195"/>
                  </a:lnTo>
                  <a:lnTo>
                    <a:pt x="7873" y="854"/>
                  </a:lnTo>
                  <a:lnTo>
                    <a:pt x="10093" y="171"/>
                  </a:lnTo>
                  <a:lnTo>
                    <a:pt x="12516" y="0"/>
                  </a:lnTo>
                  <a:lnTo>
                    <a:pt x="14938" y="171"/>
                  </a:lnTo>
                  <a:lnTo>
                    <a:pt x="18572" y="1195"/>
                  </a:lnTo>
                  <a:lnTo>
                    <a:pt x="19581" y="1878"/>
                  </a:lnTo>
                  <a:lnTo>
                    <a:pt x="20591" y="2391"/>
                  </a:lnTo>
                  <a:lnTo>
                    <a:pt x="21600" y="3244"/>
                  </a:lnTo>
                  <a:lnTo>
                    <a:pt x="17159" y="7001"/>
                  </a:lnTo>
                  <a:lnTo>
                    <a:pt x="16150" y="6318"/>
                  </a:lnTo>
                  <a:lnTo>
                    <a:pt x="14938" y="5806"/>
                  </a:lnTo>
                  <a:lnTo>
                    <a:pt x="13727" y="5464"/>
                  </a:lnTo>
                  <a:lnTo>
                    <a:pt x="12516" y="5293"/>
                  </a:lnTo>
                  <a:lnTo>
                    <a:pt x="11305" y="5464"/>
                  </a:lnTo>
                  <a:lnTo>
                    <a:pt x="10093" y="5806"/>
                  </a:lnTo>
                  <a:lnTo>
                    <a:pt x="9084" y="6318"/>
                  </a:lnTo>
                  <a:lnTo>
                    <a:pt x="8075" y="7001"/>
                  </a:lnTo>
                  <a:lnTo>
                    <a:pt x="7267" y="7855"/>
                  </a:lnTo>
                  <a:lnTo>
                    <a:pt x="6662" y="8708"/>
                  </a:lnTo>
                  <a:lnTo>
                    <a:pt x="6258" y="9733"/>
                  </a:lnTo>
                  <a:lnTo>
                    <a:pt x="6258" y="11782"/>
                  </a:lnTo>
                  <a:lnTo>
                    <a:pt x="6662" y="12806"/>
                  </a:lnTo>
                  <a:lnTo>
                    <a:pt x="7267" y="13831"/>
                  </a:lnTo>
                  <a:lnTo>
                    <a:pt x="8075" y="14514"/>
                  </a:lnTo>
                  <a:lnTo>
                    <a:pt x="9084" y="15197"/>
                  </a:lnTo>
                  <a:lnTo>
                    <a:pt x="10093" y="15709"/>
                  </a:lnTo>
                  <a:lnTo>
                    <a:pt x="11305" y="16051"/>
                  </a:lnTo>
                  <a:lnTo>
                    <a:pt x="12516" y="16221"/>
                  </a:lnTo>
                  <a:lnTo>
                    <a:pt x="13727" y="16051"/>
                  </a:lnTo>
                  <a:lnTo>
                    <a:pt x="14938" y="15709"/>
                  </a:lnTo>
                  <a:lnTo>
                    <a:pt x="16150" y="15197"/>
                  </a:lnTo>
                  <a:lnTo>
                    <a:pt x="17159" y="14514"/>
                  </a:lnTo>
                  <a:lnTo>
                    <a:pt x="21600" y="18270"/>
                  </a:lnTo>
                  <a:lnTo>
                    <a:pt x="20591" y="19124"/>
                  </a:lnTo>
                  <a:lnTo>
                    <a:pt x="19581" y="19892"/>
                  </a:lnTo>
                  <a:lnTo>
                    <a:pt x="18572" y="20405"/>
                  </a:lnTo>
                  <a:lnTo>
                    <a:pt x="14938" y="21429"/>
                  </a:lnTo>
                  <a:lnTo>
                    <a:pt x="12516" y="21600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0401440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7F4C1CC-B099-4DBA-A453-8B3184537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>
            <a:normAutofit/>
          </a:bodyPr>
          <a:lstStyle>
            <a:lvl1pPr>
              <a:defRPr sz="2800">
                <a:latin typeface="Circe Bold" panose="020B0602020203020203" pitchFamily="34" charset="-52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FAE1235-02A8-4466-8FBA-27EFCE9745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Circe" panose="020F0502020204030204" pitchFamily="34" charset="-52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B754D194-CCFB-45B5-BF76-29675B61CC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Circe Light" panose="020B0402020203020203" pitchFamily="34" charset="-52"/>
              </a:defRPr>
            </a:lvl1pPr>
            <a:lvl2pPr>
              <a:defRPr>
                <a:latin typeface="Circe Light" panose="020B0402020203020203" pitchFamily="34" charset="-52"/>
              </a:defRPr>
            </a:lvl2pPr>
            <a:lvl3pPr>
              <a:defRPr>
                <a:latin typeface="Circe Light" panose="020B0402020203020203" pitchFamily="34" charset="-52"/>
              </a:defRPr>
            </a:lvl3pPr>
            <a:lvl4pPr>
              <a:defRPr>
                <a:latin typeface="Circe Light" panose="020B0402020203020203" pitchFamily="34" charset="-52"/>
              </a:defRPr>
            </a:lvl4pPr>
            <a:lvl5pPr>
              <a:defRPr>
                <a:latin typeface="Circe Light" panose="020B0402020203020203" pitchFamily="34" charset="-52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A7D8EA81-1EFD-46E0-A29E-CB9C439D16E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Circe" panose="020F0502020204030204" pitchFamily="34" charset="-52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4E17F757-FE72-4D9F-AE01-6DC20C9C3B5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Circe Light" panose="020B0402020203020203" pitchFamily="34" charset="-52"/>
              </a:defRPr>
            </a:lvl1pPr>
            <a:lvl2pPr>
              <a:defRPr>
                <a:latin typeface="Circe Light" panose="020B0402020203020203" pitchFamily="34" charset="-52"/>
              </a:defRPr>
            </a:lvl2pPr>
            <a:lvl3pPr>
              <a:defRPr>
                <a:latin typeface="Circe Light" panose="020B0402020203020203" pitchFamily="34" charset="-52"/>
              </a:defRPr>
            </a:lvl3pPr>
            <a:lvl4pPr>
              <a:defRPr>
                <a:latin typeface="Circe Light" panose="020B0402020203020203" pitchFamily="34" charset="-52"/>
              </a:defRPr>
            </a:lvl4pPr>
            <a:lvl5pPr>
              <a:defRPr>
                <a:latin typeface="Circe Light" panose="020B0402020203020203" pitchFamily="34" charset="-52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70E19E55-FEF2-4CA9-9BB2-C79DC40521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7FB6D396-5298-439C-9EDB-83CC57FCDC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85F1E8F1-7BF8-41BB-B130-73BD97AD5C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fld id="{32688879-1EBD-43B1-9DB2-0649EA3C574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grpSp>
        <p:nvGrpSpPr>
          <p:cNvPr id="10" name="Группа 69">
            <a:extLst>
              <a:ext uri="{FF2B5EF4-FFF2-40B4-BE49-F238E27FC236}">
                <a16:creationId xmlns:a16="http://schemas.microsoft.com/office/drawing/2014/main" id="{C490FAAC-0156-43A8-85A4-F30D1307CEC5}"/>
              </a:ext>
            </a:extLst>
          </p:cNvPr>
          <p:cNvGrpSpPr/>
          <p:nvPr userDrawn="1"/>
        </p:nvGrpSpPr>
        <p:grpSpPr>
          <a:xfrm>
            <a:off x="1188976" y="6403911"/>
            <a:ext cx="9814048" cy="457574"/>
            <a:chOff x="0" y="0"/>
            <a:chExt cx="16167043" cy="753778"/>
          </a:xfrm>
          <a:solidFill>
            <a:srgbClr val="004E6B"/>
          </a:solidFill>
        </p:grpSpPr>
        <p:sp>
          <p:nvSpPr>
            <p:cNvPr id="11" name="bk object 17">
              <a:extLst>
                <a:ext uri="{FF2B5EF4-FFF2-40B4-BE49-F238E27FC236}">
                  <a16:creationId xmlns:a16="http://schemas.microsoft.com/office/drawing/2014/main" id="{DD90A08C-4FA9-4970-8164-E3504DF30D7C}"/>
                </a:ext>
              </a:extLst>
            </p:cNvPr>
            <p:cNvSpPr/>
            <p:nvPr/>
          </p:nvSpPr>
          <p:spPr>
            <a:xfrm>
              <a:off x="14775181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2" name="bk object 18">
              <a:extLst>
                <a:ext uri="{FF2B5EF4-FFF2-40B4-BE49-F238E27FC236}">
                  <a16:creationId xmlns:a16="http://schemas.microsoft.com/office/drawing/2014/main" id="{58057BA4-D19E-4230-B6BF-370A4720B0E0}"/>
                </a:ext>
              </a:extLst>
            </p:cNvPr>
            <p:cNvSpPr/>
            <p:nvPr/>
          </p:nvSpPr>
          <p:spPr>
            <a:xfrm>
              <a:off x="15096387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3" name="bk object 19">
              <a:extLst>
                <a:ext uri="{FF2B5EF4-FFF2-40B4-BE49-F238E27FC236}">
                  <a16:creationId xmlns:a16="http://schemas.microsoft.com/office/drawing/2014/main" id="{9444E2F8-CA42-4E00-B675-55D0883390FD}"/>
                </a:ext>
              </a:extLst>
            </p:cNvPr>
            <p:cNvSpPr/>
            <p:nvPr/>
          </p:nvSpPr>
          <p:spPr>
            <a:xfrm>
              <a:off x="15417570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4" name="bk object 20">
              <a:extLst>
                <a:ext uri="{FF2B5EF4-FFF2-40B4-BE49-F238E27FC236}">
                  <a16:creationId xmlns:a16="http://schemas.microsoft.com/office/drawing/2014/main" id="{1176F8EC-19A5-4FB8-AA9D-A663A4786BA4}"/>
                </a:ext>
              </a:extLst>
            </p:cNvPr>
            <p:cNvSpPr/>
            <p:nvPr/>
          </p:nvSpPr>
          <p:spPr>
            <a:xfrm>
              <a:off x="15738786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5" name="bk object 21">
              <a:extLst>
                <a:ext uri="{FF2B5EF4-FFF2-40B4-BE49-F238E27FC236}">
                  <a16:creationId xmlns:a16="http://schemas.microsoft.com/office/drawing/2014/main" id="{0A09C3C8-8392-4B40-B908-41E63C5DC871}"/>
                </a:ext>
              </a:extLst>
            </p:cNvPr>
            <p:cNvSpPr/>
            <p:nvPr/>
          </p:nvSpPr>
          <p:spPr>
            <a:xfrm>
              <a:off x="16059980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6" name="bk object 22">
              <a:extLst>
                <a:ext uri="{FF2B5EF4-FFF2-40B4-BE49-F238E27FC236}">
                  <a16:creationId xmlns:a16="http://schemas.microsoft.com/office/drawing/2014/main" id="{4FA5DAE8-CAE8-4851-B25A-07ECD3E2B18F}"/>
                </a:ext>
              </a:extLst>
            </p:cNvPr>
            <p:cNvSpPr/>
            <p:nvPr/>
          </p:nvSpPr>
          <p:spPr>
            <a:xfrm>
              <a:off x="9635978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7" name="bk object 23">
              <a:extLst>
                <a:ext uri="{FF2B5EF4-FFF2-40B4-BE49-F238E27FC236}">
                  <a16:creationId xmlns:a16="http://schemas.microsoft.com/office/drawing/2014/main" id="{61A764D0-D059-48C0-A3AC-34B2555377D3}"/>
                </a:ext>
              </a:extLst>
            </p:cNvPr>
            <p:cNvSpPr/>
            <p:nvPr/>
          </p:nvSpPr>
          <p:spPr>
            <a:xfrm>
              <a:off x="9957182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8" name="bk object 24">
              <a:extLst>
                <a:ext uri="{FF2B5EF4-FFF2-40B4-BE49-F238E27FC236}">
                  <a16:creationId xmlns:a16="http://schemas.microsoft.com/office/drawing/2014/main" id="{4CBF21E7-41F3-48CF-8EF3-EC5412419031}"/>
                </a:ext>
              </a:extLst>
            </p:cNvPr>
            <p:cNvSpPr/>
            <p:nvPr/>
          </p:nvSpPr>
          <p:spPr>
            <a:xfrm>
              <a:off x="10278377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9" name="bk object 25">
              <a:extLst>
                <a:ext uri="{FF2B5EF4-FFF2-40B4-BE49-F238E27FC236}">
                  <a16:creationId xmlns:a16="http://schemas.microsoft.com/office/drawing/2014/main" id="{E7AE0B6E-F4D7-4D98-A4B0-D28EA727F306}"/>
                </a:ext>
              </a:extLst>
            </p:cNvPr>
            <p:cNvSpPr/>
            <p:nvPr/>
          </p:nvSpPr>
          <p:spPr>
            <a:xfrm>
              <a:off x="10599570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0" name="bk object 26">
              <a:extLst>
                <a:ext uri="{FF2B5EF4-FFF2-40B4-BE49-F238E27FC236}">
                  <a16:creationId xmlns:a16="http://schemas.microsoft.com/office/drawing/2014/main" id="{BBB5F95D-C6B6-47DB-B36F-E9F9B624FBD3}"/>
                </a:ext>
              </a:extLst>
            </p:cNvPr>
            <p:cNvSpPr/>
            <p:nvPr/>
          </p:nvSpPr>
          <p:spPr>
            <a:xfrm>
              <a:off x="10920765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1" name="bk object 27">
              <a:extLst>
                <a:ext uri="{FF2B5EF4-FFF2-40B4-BE49-F238E27FC236}">
                  <a16:creationId xmlns:a16="http://schemas.microsoft.com/office/drawing/2014/main" id="{C8F8F68B-D22D-44F8-9953-6A359A8B3020}"/>
                </a:ext>
              </a:extLst>
            </p:cNvPr>
            <p:cNvSpPr/>
            <p:nvPr/>
          </p:nvSpPr>
          <p:spPr>
            <a:xfrm>
              <a:off x="11241981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2" name="bk object 28">
              <a:extLst>
                <a:ext uri="{FF2B5EF4-FFF2-40B4-BE49-F238E27FC236}">
                  <a16:creationId xmlns:a16="http://schemas.microsoft.com/office/drawing/2014/main" id="{E8D30C69-6988-4A1A-B51E-E55143144C71}"/>
                </a:ext>
              </a:extLst>
            </p:cNvPr>
            <p:cNvSpPr/>
            <p:nvPr/>
          </p:nvSpPr>
          <p:spPr>
            <a:xfrm>
              <a:off x="8029985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3" name="bk object 29">
              <a:extLst>
                <a:ext uri="{FF2B5EF4-FFF2-40B4-BE49-F238E27FC236}">
                  <a16:creationId xmlns:a16="http://schemas.microsoft.com/office/drawing/2014/main" id="{DB0D1BB8-5C71-4916-B679-62ECFAF33A7F}"/>
                </a:ext>
              </a:extLst>
            </p:cNvPr>
            <p:cNvSpPr/>
            <p:nvPr/>
          </p:nvSpPr>
          <p:spPr>
            <a:xfrm>
              <a:off x="8351179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4" name="bk object 30">
              <a:extLst>
                <a:ext uri="{FF2B5EF4-FFF2-40B4-BE49-F238E27FC236}">
                  <a16:creationId xmlns:a16="http://schemas.microsoft.com/office/drawing/2014/main" id="{7A74662D-23C6-42CF-9E19-A34B967A7E6E}"/>
                </a:ext>
              </a:extLst>
            </p:cNvPr>
            <p:cNvSpPr/>
            <p:nvPr/>
          </p:nvSpPr>
          <p:spPr>
            <a:xfrm>
              <a:off x="8672372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5" name="bk object 31">
              <a:extLst>
                <a:ext uri="{FF2B5EF4-FFF2-40B4-BE49-F238E27FC236}">
                  <a16:creationId xmlns:a16="http://schemas.microsoft.com/office/drawing/2014/main" id="{78BF8A6C-262A-4437-BDDF-E414EB449D0D}"/>
                </a:ext>
              </a:extLst>
            </p:cNvPr>
            <p:cNvSpPr/>
            <p:nvPr/>
          </p:nvSpPr>
          <p:spPr>
            <a:xfrm>
              <a:off x="8993589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6" name="bk object 32">
              <a:extLst>
                <a:ext uri="{FF2B5EF4-FFF2-40B4-BE49-F238E27FC236}">
                  <a16:creationId xmlns:a16="http://schemas.microsoft.com/office/drawing/2014/main" id="{9368FC2B-F7F7-46AA-B2DF-423D8FCEDF5C}"/>
                </a:ext>
              </a:extLst>
            </p:cNvPr>
            <p:cNvSpPr/>
            <p:nvPr/>
          </p:nvSpPr>
          <p:spPr>
            <a:xfrm>
              <a:off x="9314783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7" name="bk object 33">
              <a:extLst>
                <a:ext uri="{FF2B5EF4-FFF2-40B4-BE49-F238E27FC236}">
                  <a16:creationId xmlns:a16="http://schemas.microsoft.com/office/drawing/2014/main" id="{38D1E1E2-982A-408A-B03D-60C2DE9FB186}"/>
                </a:ext>
              </a:extLst>
            </p:cNvPr>
            <p:cNvSpPr/>
            <p:nvPr/>
          </p:nvSpPr>
          <p:spPr>
            <a:xfrm>
              <a:off x="6423971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8" name="bk object 34">
              <a:extLst>
                <a:ext uri="{FF2B5EF4-FFF2-40B4-BE49-F238E27FC236}">
                  <a16:creationId xmlns:a16="http://schemas.microsoft.com/office/drawing/2014/main" id="{414742D7-7F93-4A7F-A7EC-8E0E2D191FBC}"/>
                </a:ext>
              </a:extLst>
            </p:cNvPr>
            <p:cNvSpPr/>
            <p:nvPr/>
          </p:nvSpPr>
          <p:spPr>
            <a:xfrm>
              <a:off x="6745186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9" name="bk object 35">
              <a:extLst>
                <a:ext uri="{FF2B5EF4-FFF2-40B4-BE49-F238E27FC236}">
                  <a16:creationId xmlns:a16="http://schemas.microsoft.com/office/drawing/2014/main" id="{0A6F4D6C-D18D-48D6-8708-80B85EE7D0EE}"/>
                </a:ext>
              </a:extLst>
            </p:cNvPr>
            <p:cNvSpPr/>
            <p:nvPr/>
          </p:nvSpPr>
          <p:spPr>
            <a:xfrm>
              <a:off x="7066381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0" name="bk object 36">
              <a:extLst>
                <a:ext uri="{FF2B5EF4-FFF2-40B4-BE49-F238E27FC236}">
                  <a16:creationId xmlns:a16="http://schemas.microsoft.com/office/drawing/2014/main" id="{DDAA5FF5-8741-403D-9F6B-2D7EEB9EC490}"/>
                </a:ext>
              </a:extLst>
            </p:cNvPr>
            <p:cNvSpPr/>
            <p:nvPr/>
          </p:nvSpPr>
          <p:spPr>
            <a:xfrm>
              <a:off x="7387554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1" name="bk object 37">
              <a:extLst>
                <a:ext uri="{FF2B5EF4-FFF2-40B4-BE49-F238E27FC236}">
                  <a16:creationId xmlns:a16="http://schemas.microsoft.com/office/drawing/2014/main" id="{A4A704BA-3C8C-488B-8AB2-AB43F02964F8}"/>
                </a:ext>
              </a:extLst>
            </p:cNvPr>
            <p:cNvSpPr/>
            <p:nvPr/>
          </p:nvSpPr>
          <p:spPr>
            <a:xfrm>
              <a:off x="7708790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2" name="bk object 38">
              <a:extLst>
                <a:ext uri="{FF2B5EF4-FFF2-40B4-BE49-F238E27FC236}">
                  <a16:creationId xmlns:a16="http://schemas.microsoft.com/office/drawing/2014/main" id="{DFDE34A1-86AA-4479-B109-C6C92FEABC6D}"/>
                </a:ext>
              </a:extLst>
            </p:cNvPr>
            <p:cNvSpPr/>
            <p:nvPr/>
          </p:nvSpPr>
          <p:spPr>
            <a:xfrm>
              <a:off x="4817978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3" name="bk object 39">
              <a:extLst>
                <a:ext uri="{FF2B5EF4-FFF2-40B4-BE49-F238E27FC236}">
                  <a16:creationId xmlns:a16="http://schemas.microsoft.com/office/drawing/2014/main" id="{FD0FEC23-1FF7-4070-9D04-AB1640674B79}"/>
                </a:ext>
              </a:extLst>
            </p:cNvPr>
            <p:cNvSpPr/>
            <p:nvPr/>
          </p:nvSpPr>
          <p:spPr>
            <a:xfrm>
              <a:off x="5139172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4" name="bk object 40">
              <a:extLst>
                <a:ext uri="{FF2B5EF4-FFF2-40B4-BE49-F238E27FC236}">
                  <a16:creationId xmlns:a16="http://schemas.microsoft.com/office/drawing/2014/main" id="{0EC2C86F-BD38-47B9-A1CC-73F3DBEC9B39}"/>
                </a:ext>
              </a:extLst>
            </p:cNvPr>
            <p:cNvSpPr/>
            <p:nvPr/>
          </p:nvSpPr>
          <p:spPr>
            <a:xfrm>
              <a:off x="5460366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5" name="bk object 41">
              <a:extLst>
                <a:ext uri="{FF2B5EF4-FFF2-40B4-BE49-F238E27FC236}">
                  <a16:creationId xmlns:a16="http://schemas.microsoft.com/office/drawing/2014/main" id="{1961068F-8B32-4AD5-B03F-E379D1067E0C}"/>
                </a:ext>
              </a:extLst>
            </p:cNvPr>
            <p:cNvSpPr/>
            <p:nvPr/>
          </p:nvSpPr>
          <p:spPr>
            <a:xfrm>
              <a:off x="5781561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6" name="bk object 42">
              <a:extLst>
                <a:ext uri="{FF2B5EF4-FFF2-40B4-BE49-F238E27FC236}">
                  <a16:creationId xmlns:a16="http://schemas.microsoft.com/office/drawing/2014/main" id="{74931D73-BF5E-469B-85CA-972F5A48255E}"/>
                </a:ext>
              </a:extLst>
            </p:cNvPr>
            <p:cNvSpPr/>
            <p:nvPr/>
          </p:nvSpPr>
          <p:spPr>
            <a:xfrm>
              <a:off x="6102777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7" name="bk object 43">
              <a:extLst>
                <a:ext uri="{FF2B5EF4-FFF2-40B4-BE49-F238E27FC236}">
                  <a16:creationId xmlns:a16="http://schemas.microsoft.com/office/drawing/2014/main" id="{D970B130-EF8C-4762-827C-2D39A9FBB9B3}"/>
                </a:ext>
              </a:extLst>
            </p:cNvPr>
            <p:cNvSpPr/>
            <p:nvPr/>
          </p:nvSpPr>
          <p:spPr>
            <a:xfrm>
              <a:off x="3211985" y="432467"/>
              <a:ext cx="107065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8" name="bk object 44">
              <a:extLst>
                <a:ext uri="{FF2B5EF4-FFF2-40B4-BE49-F238E27FC236}">
                  <a16:creationId xmlns:a16="http://schemas.microsoft.com/office/drawing/2014/main" id="{CED04B4D-35ED-48E2-B96F-D992EE79A586}"/>
                </a:ext>
              </a:extLst>
            </p:cNvPr>
            <p:cNvSpPr/>
            <p:nvPr/>
          </p:nvSpPr>
          <p:spPr>
            <a:xfrm>
              <a:off x="3533179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9" name="bk object 45">
              <a:extLst>
                <a:ext uri="{FF2B5EF4-FFF2-40B4-BE49-F238E27FC236}">
                  <a16:creationId xmlns:a16="http://schemas.microsoft.com/office/drawing/2014/main" id="{895F0182-4BB1-4CF4-AE04-541DCAC82BC0}"/>
                </a:ext>
              </a:extLst>
            </p:cNvPr>
            <p:cNvSpPr/>
            <p:nvPr/>
          </p:nvSpPr>
          <p:spPr>
            <a:xfrm>
              <a:off x="3854374" y="539533"/>
              <a:ext cx="107076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0" name="bk object 46">
              <a:extLst>
                <a:ext uri="{FF2B5EF4-FFF2-40B4-BE49-F238E27FC236}">
                  <a16:creationId xmlns:a16="http://schemas.microsoft.com/office/drawing/2014/main" id="{D334A0BD-98E2-4CCE-977B-B833705762C0}"/>
                </a:ext>
              </a:extLst>
            </p:cNvPr>
            <p:cNvSpPr/>
            <p:nvPr/>
          </p:nvSpPr>
          <p:spPr>
            <a:xfrm>
              <a:off x="4175578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1" name="bk object 47">
              <a:extLst>
                <a:ext uri="{FF2B5EF4-FFF2-40B4-BE49-F238E27FC236}">
                  <a16:creationId xmlns:a16="http://schemas.microsoft.com/office/drawing/2014/main" id="{1BCF4AF1-6792-4536-B810-0186B755AD05}"/>
                </a:ext>
              </a:extLst>
            </p:cNvPr>
            <p:cNvSpPr/>
            <p:nvPr/>
          </p:nvSpPr>
          <p:spPr>
            <a:xfrm>
              <a:off x="4496784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2" name="bk object 48">
              <a:extLst>
                <a:ext uri="{FF2B5EF4-FFF2-40B4-BE49-F238E27FC236}">
                  <a16:creationId xmlns:a16="http://schemas.microsoft.com/office/drawing/2014/main" id="{BDC9D716-20E4-4209-9573-16204D6085B2}"/>
                </a:ext>
              </a:extLst>
            </p:cNvPr>
            <p:cNvSpPr/>
            <p:nvPr/>
          </p:nvSpPr>
          <p:spPr>
            <a:xfrm>
              <a:off x="1605992" y="432467"/>
              <a:ext cx="107065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3" name="bk object 49">
              <a:extLst>
                <a:ext uri="{FF2B5EF4-FFF2-40B4-BE49-F238E27FC236}">
                  <a16:creationId xmlns:a16="http://schemas.microsoft.com/office/drawing/2014/main" id="{7B759B1B-8315-441C-AD20-554214DDD888}"/>
                </a:ext>
              </a:extLst>
            </p:cNvPr>
            <p:cNvSpPr/>
            <p:nvPr/>
          </p:nvSpPr>
          <p:spPr>
            <a:xfrm>
              <a:off x="1927186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4" name="bk object 50">
              <a:extLst>
                <a:ext uri="{FF2B5EF4-FFF2-40B4-BE49-F238E27FC236}">
                  <a16:creationId xmlns:a16="http://schemas.microsoft.com/office/drawing/2014/main" id="{DBC30C7A-1F17-4CD9-811F-E7A39849A0E5}"/>
                </a:ext>
              </a:extLst>
            </p:cNvPr>
            <p:cNvSpPr/>
            <p:nvPr/>
          </p:nvSpPr>
          <p:spPr>
            <a:xfrm>
              <a:off x="2248381" y="539533"/>
              <a:ext cx="107076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5" name="bk object 51">
              <a:extLst>
                <a:ext uri="{FF2B5EF4-FFF2-40B4-BE49-F238E27FC236}">
                  <a16:creationId xmlns:a16="http://schemas.microsoft.com/office/drawing/2014/main" id="{7D6DAB19-14AC-449B-A934-F3CDCA155A35}"/>
                </a:ext>
              </a:extLst>
            </p:cNvPr>
            <p:cNvSpPr/>
            <p:nvPr/>
          </p:nvSpPr>
          <p:spPr>
            <a:xfrm>
              <a:off x="2569586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6" name="bk object 52">
              <a:extLst>
                <a:ext uri="{FF2B5EF4-FFF2-40B4-BE49-F238E27FC236}">
                  <a16:creationId xmlns:a16="http://schemas.microsoft.com/office/drawing/2014/main" id="{B4ED612E-1E24-4E7B-BBE6-00C8CA8AD236}"/>
                </a:ext>
              </a:extLst>
            </p:cNvPr>
            <p:cNvSpPr/>
            <p:nvPr/>
          </p:nvSpPr>
          <p:spPr>
            <a:xfrm>
              <a:off x="2890791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7" name="bk object 53">
              <a:extLst>
                <a:ext uri="{FF2B5EF4-FFF2-40B4-BE49-F238E27FC236}">
                  <a16:creationId xmlns:a16="http://schemas.microsoft.com/office/drawing/2014/main" id="{9DBBF753-F1F5-4D78-B32C-1B277CC3DDBB}"/>
                </a:ext>
              </a:extLst>
            </p:cNvPr>
            <p:cNvSpPr/>
            <p:nvPr/>
          </p:nvSpPr>
          <p:spPr>
            <a:xfrm>
              <a:off x="0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8" name="bk object 54">
              <a:extLst>
                <a:ext uri="{FF2B5EF4-FFF2-40B4-BE49-F238E27FC236}">
                  <a16:creationId xmlns:a16="http://schemas.microsoft.com/office/drawing/2014/main" id="{2C1669D0-4988-4B29-8506-86066B36B836}"/>
                </a:ext>
              </a:extLst>
            </p:cNvPr>
            <p:cNvSpPr/>
            <p:nvPr/>
          </p:nvSpPr>
          <p:spPr>
            <a:xfrm>
              <a:off x="321172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9" name="bk object 55">
              <a:extLst>
                <a:ext uri="{FF2B5EF4-FFF2-40B4-BE49-F238E27FC236}">
                  <a16:creationId xmlns:a16="http://schemas.microsoft.com/office/drawing/2014/main" id="{1FB759EE-A9A0-47E3-8916-2EBDDA70120B}"/>
                </a:ext>
              </a:extLst>
            </p:cNvPr>
            <p:cNvSpPr/>
            <p:nvPr/>
          </p:nvSpPr>
          <p:spPr>
            <a:xfrm>
              <a:off x="642367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0" name="bk object 56">
              <a:extLst>
                <a:ext uri="{FF2B5EF4-FFF2-40B4-BE49-F238E27FC236}">
                  <a16:creationId xmlns:a16="http://schemas.microsoft.com/office/drawing/2014/main" id="{825209F0-A0EB-495C-8675-917F4D3E87FE}"/>
                </a:ext>
              </a:extLst>
            </p:cNvPr>
            <p:cNvSpPr/>
            <p:nvPr/>
          </p:nvSpPr>
          <p:spPr>
            <a:xfrm>
              <a:off x="963593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1" name="bk object 57">
              <a:extLst>
                <a:ext uri="{FF2B5EF4-FFF2-40B4-BE49-F238E27FC236}">
                  <a16:creationId xmlns:a16="http://schemas.microsoft.com/office/drawing/2014/main" id="{D5BC577C-0169-4DC6-8A2A-0CD872D1732B}"/>
                </a:ext>
              </a:extLst>
            </p:cNvPr>
            <p:cNvSpPr/>
            <p:nvPr/>
          </p:nvSpPr>
          <p:spPr>
            <a:xfrm>
              <a:off x="1284798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2" name="bk object 58">
              <a:extLst>
                <a:ext uri="{FF2B5EF4-FFF2-40B4-BE49-F238E27FC236}">
                  <a16:creationId xmlns:a16="http://schemas.microsoft.com/office/drawing/2014/main" id="{9354B482-5910-42AF-A025-5A164889C124}"/>
                </a:ext>
              </a:extLst>
            </p:cNvPr>
            <p:cNvSpPr/>
            <p:nvPr/>
          </p:nvSpPr>
          <p:spPr>
            <a:xfrm>
              <a:off x="11563174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3" name="bk object 59">
              <a:extLst>
                <a:ext uri="{FF2B5EF4-FFF2-40B4-BE49-F238E27FC236}">
                  <a16:creationId xmlns:a16="http://schemas.microsoft.com/office/drawing/2014/main" id="{13BD6AC7-AD92-4A85-B46A-3A023047AFC6}"/>
                </a:ext>
              </a:extLst>
            </p:cNvPr>
            <p:cNvSpPr/>
            <p:nvPr/>
          </p:nvSpPr>
          <p:spPr>
            <a:xfrm>
              <a:off x="11884369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4" name="bk object 60">
              <a:extLst>
                <a:ext uri="{FF2B5EF4-FFF2-40B4-BE49-F238E27FC236}">
                  <a16:creationId xmlns:a16="http://schemas.microsoft.com/office/drawing/2014/main" id="{022E604C-7B04-4D92-A08E-B4EBE762199B}"/>
                </a:ext>
              </a:extLst>
            </p:cNvPr>
            <p:cNvSpPr/>
            <p:nvPr/>
          </p:nvSpPr>
          <p:spPr>
            <a:xfrm>
              <a:off x="12205575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5" name="bk object 61">
              <a:extLst>
                <a:ext uri="{FF2B5EF4-FFF2-40B4-BE49-F238E27FC236}">
                  <a16:creationId xmlns:a16="http://schemas.microsoft.com/office/drawing/2014/main" id="{B6D937E0-FF05-45A5-921F-3AF89D118D02}"/>
                </a:ext>
              </a:extLst>
            </p:cNvPr>
            <p:cNvSpPr/>
            <p:nvPr/>
          </p:nvSpPr>
          <p:spPr>
            <a:xfrm>
              <a:off x="12526757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6" name="Rectangle 139">
              <a:extLst>
                <a:ext uri="{FF2B5EF4-FFF2-40B4-BE49-F238E27FC236}">
                  <a16:creationId xmlns:a16="http://schemas.microsoft.com/office/drawing/2014/main" id="{725CF5CE-49CE-419F-88BC-C344AF60A85D}"/>
                </a:ext>
              </a:extLst>
            </p:cNvPr>
            <p:cNvSpPr/>
            <p:nvPr/>
          </p:nvSpPr>
          <p:spPr>
            <a:xfrm>
              <a:off x="12826047" y="3433"/>
              <a:ext cx="109890" cy="750346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7" name="Rectangle 140">
              <a:extLst>
                <a:ext uri="{FF2B5EF4-FFF2-40B4-BE49-F238E27FC236}">
                  <a16:creationId xmlns:a16="http://schemas.microsoft.com/office/drawing/2014/main" id="{B0F708B2-B13F-40BC-B7C1-39D58BFAC900}"/>
                </a:ext>
              </a:extLst>
            </p:cNvPr>
            <p:cNvSpPr/>
            <p:nvPr/>
          </p:nvSpPr>
          <p:spPr>
            <a:xfrm>
              <a:off x="13148848" y="540866"/>
              <a:ext cx="106456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8" name="Rectangle 141">
              <a:extLst>
                <a:ext uri="{FF2B5EF4-FFF2-40B4-BE49-F238E27FC236}">
                  <a16:creationId xmlns:a16="http://schemas.microsoft.com/office/drawing/2014/main" id="{ACA0C8DD-D98C-483F-A1A9-ED510F105890}"/>
                </a:ext>
              </a:extLst>
            </p:cNvPr>
            <p:cNvSpPr/>
            <p:nvPr/>
          </p:nvSpPr>
          <p:spPr>
            <a:xfrm>
              <a:off x="13468218" y="540866"/>
              <a:ext cx="109890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9" name="Rectangle 142">
              <a:extLst>
                <a:ext uri="{FF2B5EF4-FFF2-40B4-BE49-F238E27FC236}">
                  <a16:creationId xmlns:a16="http://schemas.microsoft.com/office/drawing/2014/main" id="{8DAE3C00-C28A-49EF-9D5B-D6275D5B5F3C}"/>
                </a:ext>
              </a:extLst>
            </p:cNvPr>
            <p:cNvSpPr/>
            <p:nvPr/>
          </p:nvSpPr>
          <p:spPr>
            <a:xfrm>
              <a:off x="13791020" y="540866"/>
              <a:ext cx="106456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0" name="Rectangle 143">
              <a:extLst>
                <a:ext uri="{FF2B5EF4-FFF2-40B4-BE49-F238E27FC236}">
                  <a16:creationId xmlns:a16="http://schemas.microsoft.com/office/drawing/2014/main" id="{F83ACCAD-EA06-4801-867F-E73B49F122F2}"/>
                </a:ext>
              </a:extLst>
            </p:cNvPr>
            <p:cNvSpPr/>
            <p:nvPr/>
          </p:nvSpPr>
          <p:spPr>
            <a:xfrm>
              <a:off x="14113822" y="540866"/>
              <a:ext cx="106456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1" name="Freeform 144">
              <a:extLst>
                <a:ext uri="{FF2B5EF4-FFF2-40B4-BE49-F238E27FC236}">
                  <a16:creationId xmlns:a16="http://schemas.microsoft.com/office/drawing/2014/main" id="{8AA28F07-11D1-4B92-8EDC-63739B1FA68E}"/>
                </a:ext>
              </a:extLst>
            </p:cNvPr>
            <p:cNvSpPr/>
            <p:nvPr/>
          </p:nvSpPr>
          <p:spPr>
            <a:xfrm>
              <a:off x="14003931" y="3433"/>
              <a:ext cx="322803" cy="430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0"/>
                  </a:lnTo>
                  <a:lnTo>
                    <a:pt x="0" y="5335"/>
                  </a:lnTo>
                  <a:lnTo>
                    <a:pt x="7353" y="5335"/>
                  </a:lnTo>
                  <a:lnTo>
                    <a:pt x="7353" y="21600"/>
                  </a:lnTo>
                  <a:lnTo>
                    <a:pt x="14477" y="21600"/>
                  </a:lnTo>
                  <a:lnTo>
                    <a:pt x="14477" y="5335"/>
                  </a:lnTo>
                  <a:lnTo>
                    <a:pt x="21600" y="5335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2" name="Rectangle 145">
              <a:extLst>
                <a:ext uri="{FF2B5EF4-FFF2-40B4-BE49-F238E27FC236}">
                  <a16:creationId xmlns:a16="http://schemas.microsoft.com/office/drawing/2014/main" id="{B87C42C1-E705-45AB-AC6A-C6E40C957E5E}"/>
                </a:ext>
              </a:extLst>
            </p:cNvPr>
            <p:cNvSpPr/>
            <p:nvPr/>
          </p:nvSpPr>
          <p:spPr>
            <a:xfrm>
              <a:off x="14433190" y="3433"/>
              <a:ext cx="106456" cy="750346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3" name="Freeform 146">
              <a:extLst>
                <a:ext uri="{FF2B5EF4-FFF2-40B4-BE49-F238E27FC236}">
                  <a16:creationId xmlns:a16="http://schemas.microsoft.com/office/drawing/2014/main" id="{2CB5E988-EA67-4640-B4B5-BEC85B626081}"/>
                </a:ext>
              </a:extLst>
            </p:cNvPr>
            <p:cNvSpPr/>
            <p:nvPr/>
          </p:nvSpPr>
          <p:spPr>
            <a:xfrm>
              <a:off x="13148848" y="3433"/>
              <a:ext cx="319369" cy="430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916" y="10671"/>
                  </a:moveTo>
                  <a:lnTo>
                    <a:pt x="7200" y="10671"/>
                  </a:lnTo>
                  <a:lnTo>
                    <a:pt x="7200" y="5335"/>
                  </a:lnTo>
                  <a:lnTo>
                    <a:pt x="11613" y="5335"/>
                  </a:lnTo>
                  <a:lnTo>
                    <a:pt x="12310" y="5508"/>
                  </a:lnTo>
                  <a:lnTo>
                    <a:pt x="13471" y="6196"/>
                  </a:lnTo>
                  <a:lnTo>
                    <a:pt x="14168" y="7057"/>
                  </a:lnTo>
                  <a:lnTo>
                    <a:pt x="14400" y="7401"/>
                  </a:lnTo>
                  <a:lnTo>
                    <a:pt x="14400" y="8606"/>
                  </a:lnTo>
                  <a:lnTo>
                    <a:pt x="14168" y="9122"/>
                  </a:lnTo>
                  <a:lnTo>
                    <a:pt x="13471" y="9982"/>
                  </a:lnTo>
                  <a:lnTo>
                    <a:pt x="12310" y="10499"/>
                  </a:lnTo>
                  <a:lnTo>
                    <a:pt x="11613" y="10671"/>
                  </a:lnTo>
                  <a:lnTo>
                    <a:pt x="10916" y="10671"/>
                  </a:lnTo>
                  <a:close/>
                  <a:moveTo>
                    <a:pt x="10916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7200" y="21600"/>
                  </a:lnTo>
                  <a:lnTo>
                    <a:pt x="7200" y="16006"/>
                  </a:lnTo>
                  <a:lnTo>
                    <a:pt x="10916" y="16006"/>
                  </a:lnTo>
                  <a:lnTo>
                    <a:pt x="13006" y="15834"/>
                  </a:lnTo>
                  <a:lnTo>
                    <a:pt x="15097" y="15490"/>
                  </a:lnTo>
                  <a:lnTo>
                    <a:pt x="16955" y="14629"/>
                  </a:lnTo>
                  <a:lnTo>
                    <a:pt x="18581" y="13769"/>
                  </a:lnTo>
                  <a:lnTo>
                    <a:pt x="19974" y="12564"/>
                  </a:lnTo>
                  <a:lnTo>
                    <a:pt x="20903" y="11187"/>
                  </a:lnTo>
                  <a:lnTo>
                    <a:pt x="21600" y="9638"/>
                  </a:lnTo>
                  <a:lnTo>
                    <a:pt x="21600" y="6368"/>
                  </a:lnTo>
                  <a:lnTo>
                    <a:pt x="20903" y="4819"/>
                  </a:lnTo>
                  <a:lnTo>
                    <a:pt x="19974" y="3614"/>
                  </a:lnTo>
                  <a:lnTo>
                    <a:pt x="18581" y="2410"/>
                  </a:lnTo>
                  <a:lnTo>
                    <a:pt x="16955" y="1377"/>
                  </a:lnTo>
                  <a:lnTo>
                    <a:pt x="15097" y="688"/>
                  </a:lnTo>
                  <a:lnTo>
                    <a:pt x="13006" y="172"/>
                  </a:lnTo>
                  <a:lnTo>
                    <a:pt x="10916" y="0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4" name="Freeform 149">
              <a:extLst>
                <a:ext uri="{FF2B5EF4-FFF2-40B4-BE49-F238E27FC236}">
                  <a16:creationId xmlns:a16="http://schemas.microsoft.com/office/drawing/2014/main" id="{656BD7EC-A3B4-49DE-B740-90E49F68D109}"/>
                </a:ext>
              </a:extLst>
            </p:cNvPr>
            <p:cNvSpPr/>
            <p:nvPr/>
          </p:nvSpPr>
          <p:spPr>
            <a:xfrm>
              <a:off x="13547201" y="0"/>
              <a:ext cx="367445" cy="4344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516" y="21600"/>
                  </a:moveTo>
                  <a:lnTo>
                    <a:pt x="10093" y="21429"/>
                  </a:lnTo>
                  <a:lnTo>
                    <a:pt x="7873" y="20746"/>
                  </a:lnTo>
                  <a:lnTo>
                    <a:pt x="6662" y="20405"/>
                  </a:lnTo>
                  <a:lnTo>
                    <a:pt x="5652" y="19892"/>
                  </a:lnTo>
                  <a:lnTo>
                    <a:pt x="4643" y="19124"/>
                  </a:lnTo>
                  <a:lnTo>
                    <a:pt x="2826" y="17587"/>
                  </a:lnTo>
                  <a:lnTo>
                    <a:pt x="2019" y="16734"/>
                  </a:lnTo>
                  <a:lnTo>
                    <a:pt x="1413" y="15880"/>
                  </a:lnTo>
                  <a:lnTo>
                    <a:pt x="807" y="14855"/>
                  </a:lnTo>
                  <a:lnTo>
                    <a:pt x="404" y="13831"/>
                  </a:lnTo>
                  <a:lnTo>
                    <a:pt x="0" y="11782"/>
                  </a:lnTo>
                  <a:lnTo>
                    <a:pt x="0" y="9733"/>
                  </a:lnTo>
                  <a:lnTo>
                    <a:pt x="404" y="7684"/>
                  </a:lnTo>
                  <a:lnTo>
                    <a:pt x="807" y="6659"/>
                  </a:lnTo>
                  <a:lnTo>
                    <a:pt x="1413" y="5635"/>
                  </a:lnTo>
                  <a:lnTo>
                    <a:pt x="2019" y="4781"/>
                  </a:lnTo>
                  <a:lnTo>
                    <a:pt x="2826" y="3927"/>
                  </a:lnTo>
                  <a:lnTo>
                    <a:pt x="4643" y="2391"/>
                  </a:lnTo>
                  <a:lnTo>
                    <a:pt x="5652" y="1878"/>
                  </a:lnTo>
                  <a:lnTo>
                    <a:pt x="6662" y="1195"/>
                  </a:lnTo>
                  <a:lnTo>
                    <a:pt x="7873" y="854"/>
                  </a:lnTo>
                  <a:lnTo>
                    <a:pt x="10093" y="171"/>
                  </a:lnTo>
                  <a:lnTo>
                    <a:pt x="12516" y="0"/>
                  </a:lnTo>
                  <a:lnTo>
                    <a:pt x="14938" y="171"/>
                  </a:lnTo>
                  <a:lnTo>
                    <a:pt x="18572" y="1195"/>
                  </a:lnTo>
                  <a:lnTo>
                    <a:pt x="19581" y="1878"/>
                  </a:lnTo>
                  <a:lnTo>
                    <a:pt x="20591" y="2391"/>
                  </a:lnTo>
                  <a:lnTo>
                    <a:pt x="21600" y="3244"/>
                  </a:lnTo>
                  <a:lnTo>
                    <a:pt x="17159" y="7001"/>
                  </a:lnTo>
                  <a:lnTo>
                    <a:pt x="16150" y="6318"/>
                  </a:lnTo>
                  <a:lnTo>
                    <a:pt x="14938" y="5806"/>
                  </a:lnTo>
                  <a:lnTo>
                    <a:pt x="13727" y="5464"/>
                  </a:lnTo>
                  <a:lnTo>
                    <a:pt x="12516" y="5293"/>
                  </a:lnTo>
                  <a:lnTo>
                    <a:pt x="11305" y="5464"/>
                  </a:lnTo>
                  <a:lnTo>
                    <a:pt x="10093" y="5806"/>
                  </a:lnTo>
                  <a:lnTo>
                    <a:pt x="9084" y="6318"/>
                  </a:lnTo>
                  <a:lnTo>
                    <a:pt x="8075" y="7001"/>
                  </a:lnTo>
                  <a:lnTo>
                    <a:pt x="7267" y="7855"/>
                  </a:lnTo>
                  <a:lnTo>
                    <a:pt x="6662" y="8708"/>
                  </a:lnTo>
                  <a:lnTo>
                    <a:pt x="6258" y="9733"/>
                  </a:lnTo>
                  <a:lnTo>
                    <a:pt x="6258" y="11782"/>
                  </a:lnTo>
                  <a:lnTo>
                    <a:pt x="6662" y="12806"/>
                  </a:lnTo>
                  <a:lnTo>
                    <a:pt x="7267" y="13831"/>
                  </a:lnTo>
                  <a:lnTo>
                    <a:pt x="8075" y="14514"/>
                  </a:lnTo>
                  <a:lnTo>
                    <a:pt x="9084" y="15197"/>
                  </a:lnTo>
                  <a:lnTo>
                    <a:pt x="10093" y="15709"/>
                  </a:lnTo>
                  <a:lnTo>
                    <a:pt x="11305" y="16051"/>
                  </a:lnTo>
                  <a:lnTo>
                    <a:pt x="12516" y="16221"/>
                  </a:lnTo>
                  <a:lnTo>
                    <a:pt x="13727" y="16051"/>
                  </a:lnTo>
                  <a:lnTo>
                    <a:pt x="14938" y="15709"/>
                  </a:lnTo>
                  <a:lnTo>
                    <a:pt x="16150" y="15197"/>
                  </a:lnTo>
                  <a:lnTo>
                    <a:pt x="17159" y="14514"/>
                  </a:lnTo>
                  <a:lnTo>
                    <a:pt x="21600" y="18270"/>
                  </a:lnTo>
                  <a:lnTo>
                    <a:pt x="20591" y="19124"/>
                  </a:lnTo>
                  <a:lnTo>
                    <a:pt x="19581" y="19892"/>
                  </a:lnTo>
                  <a:lnTo>
                    <a:pt x="18572" y="20405"/>
                  </a:lnTo>
                  <a:lnTo>
                    <a:pt x="14938" y="21429"/>
                  </a:lnTo>
                  <a:lnTo>
                    <a:pt x="12516" y="21600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6614248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0DEF16-6A62-4182-B773-78D2146C82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>
                <a:latin typeface="Circe Bold" panose="020B0602020203020203" pitchFamily="34" charset="-52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C74DCBBA-61A8-46C0-8BFA-F807B29FC3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EFA1AFBD-CCA5-44CF-8E93-CA61D755AB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3C8E2432-6A31-4133-BD89-87B62C1E74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fld id="{1E56529A-E964-4A93-88B9-EA17EA7DBFDC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  <p:grpSp>
        <p:nvGrpSpPr>
          <p:cNvPr id="6" name="Группа 69">
            <a:extLst>
              <a:ext uri="{FF2B5EF4-FFF2-40B4-BE49-F238E27FC236}">
                <a16:creationId xmlns:a16="http://schemas.microsoft.com/office/drawing/2014/main" id="{87104F06-2A1C-4B38-8677-EEC1445D2CD3}"/>
              </a:ext>
            </a:extLst>
          </p:cNvPr>
          <p:cNvGrpSpPr/>
          <p:nvPr userDrawn="1"/>
        </p:nvGrpSpPr>
        <p:grpSpPr>
          <a:xfrm>
            <a:off x="1188976" y="6403911"/>
            <a:ext cx="9814048" cy="457574"/>
            <a:chOff x="0" y="0"/>
            <a:chExt cx="16167043" cy="753778"/>
          </a:xfrm>
          <a:solidFill>
            <a:srgbClr val="004E6B"/>
          </a:solidFill>
        </p:grpSpPr>
        <p:sp>
          <p:nvSpPr>
            <p:cNvPr id="7" name="bk object 17">
              <a:extLst>
                <a:ext uri="{FF2B5EF4-FFF2-40B4-BE49-F238E27FC236}">
                  <a16:creationId xmlns:a16="http://schemas.microsoft.com/office/drawing/2014/main" id="{E6575C8C-D3AE-4220-823F-23C0F5DB0A4C}"/>
                </a:ext>
              </a:extLst>
            </p:cNvPr>
            <p:cNvSpPr/>
            <p:nvPr/>
          </p:nvSpPr>
          <p:spPr>
            <a:xfrm>
              <a:off x="14775181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8" name="bk object 18">
              <a:extLst>
                <a:ext uri="{FF2B5EF4-FFF2-40B4-BE49-F238E27FC236}">
                  <a16:creationId xmlns:a16="http://schemas.microsoft.com/office/drawing/2014/main" id="{E2006577-5FB7-431B-8D27-2942ABEBF9A4}"/>
                </a:ext>
              </a:extLst>
            </p:cNvPr>
            <p:cNvSpPr/>
            <p:nvPr/>
          </p:nvSpPr>
          <p:spPr>
            <a:xfrm>
              <a:off x="15096387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" name="bk object 19">
              <a:extLst>
                <a:ext uri="{FF2B5EF4-FFF2-40B4-BE49-F238E27FC236}">
                  <a16:creationId xmlns:a16="http://schemas.microsoft.com/office/drawing/2014/main" id="{8B68CB1E-59E9-403E-B002-8EF9635743D1}"/>
                </a:ext>
              </a:extLst>
            </p:cNvPr>
            <p:cNvSpPr/>
            <p:nvPr/>
          </p:nvSpPr>
          <p:spPr>
            <a:xfrm>
              <a:off x="15417570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" name="bk object 20">
              <a:extLst>
                <a:ext uri="{FF2B5EF4-FFF2-40B4-BE49-F238E27FC236}">
                  <a16:creationId xmlns:a16="http://schemas.microsoft.com/office/drawing/2014/main" id="{8914A1A6-013B-4BA3-B8B0-3497EA8A6C09}"/>
                </a:ext>
              </a:extLst>
            </p:cNvPr>
            <p:cNvSpPr/>
            <p:nvPr/>
          </p:nvSpPr>
          <p:spPr>
            <a:xfrm>
              <a:off x="15738786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1" name="bk object 21">
              <a:extLst>
                <a:ext uri="{FF2B5EF4-FFF2-40B4-BE49-F238E27FC236}">
                  <a16:creationId xmlns:a16="http://schemas.microsoft.com/office/drawing/2014/main" id="{AD61ECF7-5331-431D-9A02-70828983C3BE}"/>
                </a:ext>
              </a:extLst>
            </p:cNvPr>
            <p:cNvSpPr/>
            <p:nvPr/>
          </p:nvSpPr>
          <p:spPr>
            <a:xfrm>
              <a:off x="16059980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2" name="bk object 22">
              <a:extLst>
                <a:ext uri="{FF2B5EF4-FFF2-40B4-BE49-F238E27FC236}">
                  <a16:creationId xmlns:a16="http://schemas.microsoft.com/office/drawing/2014/main" id="{B41CC8F3-E1E3-4C57-A53F-5C22BFD2FEC0}"/>
                </a:ext>
              </a:extLst>
            </p:cNvPr>
            <p:cNvSpPr/>
            <p:nvPr/>
          </p:nvSpPr>
          <p:spPr>
            <a:xfrm>
              <a:off x="9635978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3" name="bk object 23">
              <a:extLst>
                <a:ext uri="{FF2B5EF4-FFF2-40B4-BE49-F238E27FC236}">
                  <a16:creationId xmlns:a16="http://schemas.microsoft.com/office/drawing/2014/main" id="{7E4B1E55-A04D-4DFE-8619-D31C520F4D5E}"/>
                </a:ext>
              </a:extLst>
            </p:cNvPr>
            <p:cNvSpPr/>
            <p:nvPr/>
          </p:nvSpPr>
          <p:spPr>
            <a:xfrm>
              <a:off x="9957182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4" name="bk object 24">
              <a:extLst>
                <a:ext uri="{FF2B5EF4-FFF2-40B4-BE49-F238E27FC236}">
                  <a16:creationId xmlns:a16="http://schemas.microsoft.com/office/drawing/2014/main" id="{932EFDD8-1AE6-4610-B169-9E3044720FEB}"/>
                </a:ext>
              </a:extLst>
            </p:cNvPr>
            <p:cNvSpPr/>
            <p:nvPr/>
          </p:nvSpPr>
          <p:spPr>
            <a:xfrm>
              <a:off x="10278377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5" name="bk object 25">
              <a:extLst>
                <a:ext uri="{FF2B5EF4-FFF2-40B4-BE49-F238E27FC236}">
                  <a16:creationId xmlns:a16="http://schemas.microsoft.com/office/drawing/2014/main" id="{A9E9CF0A-5A0C-4EAA-9BA2-0F553E070ED6}"/>
                </a:ext>
              </a:extLst>
            </p:cNvPr>
            <p:cNvSpPr/>
            <p:nvPr/>
          </p:nvSpPr>
          <p:spPr>
            <a:xfrm>
              <a:off x="10599570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6" name="bk object 26">
              <a:extLst>
                <a:ext uri="{FF2B5EF4-FFF2-40B4-BE49-F238E27FC236}">
                  <a16:creationId xmlns:a16="http://schemas.microsoft.com/office/drawing/2014/main" id="{99B8017B-6921-47B7-8E4C-97C20F741298}"/>
                </a:ext>
              </a:extLst>
            </p:cNvPr>
            <p:cNvSpPr/>
            <p:nvPr/>
          </p:nvSpPr>
          <p:spPr>
            <a:xfrm>
              <a:off x="10920765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7" name="bk object 27">
              <a:extLst>
                <a:ext uri="{FF2B5EF4-FFF2-40B4-BE49-F238E27FC236}">
                  <a16:creationId xmlns:a16="http://schemas.microsoft.com/office/drawing/2014/main" id="{3F70BD0F-AFDD-4D2D-94AA-912127526413}"/>
                </a:ext>
              </a:extLst>
            </p:cNvPr>
            <p:cNvSpPr/>
            <p:nvPr/>
          </p:nvSpPr>
          <p:spPr>
            <a:xfrm>
              <a:off x="11241981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8" name="bk object 28">
              <a:extLst>
                <a:ext uri="{FF2B5EF4-FFF2-40B4-BE49-F238E27FC236}">
                  <a16:creationId xmlns:a16="http://schemas.microsoft.com/office/drawing/2014/main" id="{BA2E11D3-9A21-49FB-ABE0-1A235B004E6C}"/>
                </a:ext>
              </a:extLst>
            </p:cNvPr>
            <p:cNvSpPr/>
            <p:nvPr/>
          </p:nvSpPr>
          <p:spPr>
            <a:xfrm>
              <a:off x="8029985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9" name="bk object 29">
              <a:extLst>
                <a:ext uri="{FF2B5EF4-FFF2-40B4-BE49-F238E27FC236}">
                  <a16:creationId xmlns:a16="http://schemas.microsoft.com/office/drawing/2014/main" id="{F8B44C8D-0F23-41D0-A9D7-88810C7A5C20}"/>
                </a:ext>
              </a:extLst>
            </p:cNvPr>
            <p:cNvSpPr/>
            <p:nvPr/>
          </p:nvSpPr>
          <p:spPr>
            <a:xfrm>
              <a:off x="8351179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0" name="bk object 30">
              <a:extLst>
                <a:ext uri="{FF2B5EF4-FFF2-40B4-BE49-F238E27FC236}">
                  <a16:creationId xmlns:a16="http://schemas.microsoft.com/office/drawing/2014/main" id="{A3928F41-E997-4547-95C8-BB46B75AB266}"/>
                </a:ext>
              </a:extLst>
            </p:cNvPr>
            <p:cNvSpPr/>
            <p:nvPr/>
          </p:nvSpPr>
          <p:spPr>
            <a:xfrm>
              <a:off x="8672372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1" name="bk object 31">
              <a:extLst>
                <a:ext uri="{FF2B5EF4-FFF2-40B4-BE49-F238E27FC236}">
                  <a16:creationId xmlns:a16="http://schemas.microsoft.com/office/drawing/2014/main" id="{DB4F6EDF-3904-419F-8DDF-B9F470498F4E}"/>
                </a:ext>
              </a:extLst>
            </p:cNvPr>
            <p:cNvSpPr/>
            <p:nvPr/>
          </p:nvSpPr>
          <p:spPr>
            <a:xfrm>
              <a:off x="8993589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2" name="bk object 32">
              <a:extLst>
                <a:ext uri="{FF2B5EF4-FFF2-40B4-BE49-F238E27FC236}">
                  <a16:creationId xmlns:a16="http://schemas.microsoft.com/office/drawing/2014/main" id="{5F0ACAAF-92AC-4207-8FCF-7C670A3E3D6A}"/>
                </a:ext>
              </a:extLst>
            </p:cNvPr>
            <p:cNvSpPr/>
            <p:nvPr/>
          </p:nvSpPr>
          <p:spPr>
            <a:xfrm>
              <a:off x="9314783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3" name="bk object 33">
              <a:extLst>
                <a:ext uri="{FF2B5EF4-FFF2-40B4-BE49-F238E27FC236}">
                  <a16:creationId xmlns:a16="http://schemas.microsoft.com/office/drawing/2014/main" id="{13ABA04A-DB31-4BB2-A40C-41CF9EFBAADD}"/>
                </a:ext>
              </a:extLst>
            </p:cNvPr>
            <p:cNvSpPr/>
            <p:nvPr/>
          </p:nvSpPr>
          <p:spPr>
            <a:xfrm>
              <a:off x="6423971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4" name="bk object 34">
              <a:extLst>
                <a:ext uri="{FF2B5EF4-FFF2-40B4-BE49-F238E27FC236}">
                  <a16:creationId xmlns:a16="http://schemas.microsoft.com/office/drawing/2014/main" id="{2FE3D135-B482-4A84-8844-EBF001FFFBFD}"/>
                </a:ext>
              </a:extLst>
            </p:cNvPr>
            <p:cNvSpPr/>
            <p:nvPr/>
          </p:nvSpPr>
          <p:spPr>
            <a:xfrm>
              <a:off x="6745186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5" name="bk object 35">
              <a:extLst>
                <a:ext uri="{FF2B5EF4-FFF2-40B4-BE49-F238E27FC236}">
                  <a16:creationId xmlns:a16="http://schemas.microsoft.com/office/drawing/2014/main" id="{B81B3750-060D-479D-A0AC-B52B35F60688}"/>
                </a:ext>
              </a:extLst>
            </p:cNvPr>
            <p:cNvSpPr/>
            <p:nvPr/>
          </p:nvSpPr>
          <p:spPr>
            <a:xfrm>
              <a:off x="7066381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6" name="bk object 36">
              <a:extLst>
                <a:ext uri="{FF2B5EF4-FFF2-40B4-BE49-F238E27FC236}">
                  <a16:creationId xmlns:a16="http://schemas.microsoft.com/office/drawing/2014/main" id="{8E502054-7081-4E9A-AADF-23F8912855B4}"/>
                </a:ext>
              </a:extLst>
            </p:cNvPr>
            <p:cNvSpPr/>
            <p:nvPr/>
          </p:nvSpPr>
          <p:spPr>
            <a:xfrm>
              <a:off x="7387554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7" name="bk object 37">
              <a:extLst>
                <a:ext uri="{FF2B5EF4-FFF2-40B4-BE49-F238E27FC236}">
                  <a16:creationId xmlns:a16="http://schemas.microsoft.com/office/drawing/2014/main" id="{1B695B9B-24A7-4EBA-8D77-CFEB09FE426C}"/>
                </a:ext>
              </a:extLst>
            </p:cNvPr>
            <p:cNvSpPr/>
            <p:nvPr/>
          </p:nvSpPr>
          <p:spPr>
            <a:xfrm>
              <a:off x="7708790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8" name="bk object 38">
              <a:extLst>
                <a:ext uri="{FF2B5EF4-FFF2-40B4-BE49-F238E27FC236}">
                  <a16:creationId xmlns:a16="http://schemas.microsoft.com/office/drawing/2014/main" id="{CE8E3ECC-6FDF-4311-A273-B6DD60F7F4A2}"/>
                </a:ext>
              </a:extLst>
            </p:cNvPr>
            <p:cNvSpPr/>
            <p:nvPr/>
          </p:nvSpPr>
          <p:spPr>
            <a:xfrm>
              <a:off x="4817978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9" name="bk object 39">
              <a:extLst>
                <a:ext uri="{FF2B5EF4-FFF2-40B4-BE49-F238E27FC236}">
                  <a16:creationId xmlns:a16="http://schemas.microsoft.com/office/drawing/2014/main" id="{B2B02803-0F2E-4565-A776-9080D7A7567C}"/>
                </a:ext>
              </a:extLst>
            </p:cNvPr>
            <p:cNvSpPr/>
            <p:nvPr/>
          </p:nvSpPr>
          <p:spPr>
            <a:xfrm>
              <a:off x="5139172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0" name="bk object 40">
              <a:extLst>
                <a:ext uri="{FF2B5EF4-FFF2-40B4-BE49-F238E27FC236}">
                  <a16:creationId xmlns:a16="http://schemas.microsoft.com/office/drawing/2014/main" id="{166BC9B7-86C4-40CA-B5C9-66E5D507189C}"/>
                </a:ext>
              </a:extLst>
            </p:cNvPr>
            <p:cNvSpPr/>
            <p:nvPr/>
          </p:nvSpPr>
          <p:spPr>
            <a:xfrm>
              <a:off x="5460366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1" name="bk object 41">
              <a:extLst>
                <a:ext uri="{FF2B5EF4-FFF2-40B4-BE49-F238E27FC236}">
                  <a16:creationId xmlns:a16="http://schemas.microsoft.com/office/drawing/2014/main" id="{3D12FDB5-DE6C-40E2-9ADB-A8E838ADD813}"/>
                </a:ext>
              </a:extLst>
            </p:cNvPr>
            <p:cNvSpPr/>
            <p:nvPr/>
          </p:nvSpPr>
          <p:spPr>
            <a:xfrm>
              <a:off x="5781561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2" name="bk object 42">
              <a:extLst>
                <a:ext uri="{FF2B5EF4-FFF2-40B4-BE49-F238E27FC236}">
                  <a16:creationId xmlns:a16="http://schemas.microsoft.com/office/drawing/2014/main" id="{84AA4AAE-545D-44EB-9349-B89F59787CB0}"/>
                </a:ext>
              </a:extLst>
            </p:cNvPr>
            <p:cNvSpPr/>
            <p:nvPr/>
          </p:nvSpPr>
          <p:spPr>
            <a:xfrm>
              <a:off x="6102777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3" name="bk object 43">
              <a:extLst>
                <a:ext uri="{FF2B5EF4-FFF2-40B4-BE49-F238E27FC236}">
                  <a16:creationId xmlns:a16="http://schemas.microsoft.com/office/drawing/2014/main" id="{37D9763E-8ABC-45B9-B952-103C8CB2ECE4}"/>
                </a:ext>
              </a:extLst>
            </p:cNvPr>
            <p:cNvSpPr/>
            <p:nvPr/>
          </p:nvSpPr>
          <p:spPr>
            <a:xfrm>
              <a:off x="3211985" y="432467"/>
              <a:ext cx="107065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4" name="bk object 44">
              <a:extLst>
                <a:ext uri="{FF2B5EF4-FFF2-40B4-BE49-F238E27FC236}">
                  <a16:creationId xmlns:a16="http://schemas.microsoft.com/office/drawing/2014/main" id="{5EEF5925-C709-4E90-8253-8B47F85F8CEF}"/>
                </a:ext>
              </a:extLst>
            </p:cNvPr>
            <p:cNvSpPr/>
            <p:nvPr/>
          </p:nvSpPr>
          <p:spPr>
            <a:xfrm>
              <a:off x="3533179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5" name="bk object 45">
              <a:extLst>
                <a:ext uri="{FF2B5EF4-FFF2-40B4-BE49-F238E27FC236}">
                  <a16:creationId xmlns:a16="http://schemas.microsoft.com/office/drawing/2014/main" id="{1FA34945-D1D5-40AF-B9CD-AB48CE2DC74D}"/>
                </a:ext>
              </a:extLst>
            </p:cNvPr>
            <p:cNvSpPr/>
            <p:nvPr/>
          </p:nvSpPr>
          <p:spPr>
            <a:xfrm>
              <a:off x="3854374" y="539533"/>
              <a:ext cx="107076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6" name="bk object 46">
              <a:extLst>
                <a:ext uri="{FF2B5EF4-FFF2-40B4-BE49-F238E27FC236}">
                  <a16:creationId xmlns:a16="http://schemas.microsoft.com/office/drawing/2014/main" id="{C9C2E9F2-884A-4582-AE53-EDB388F2D196}"/>
                </a:ext>
              </a:extLst>
            </p:cNvPr>
            <p:cNvSpPr/>
            <p:nvPr/>
          </p:nvSpPr>
          <p:spPr>
            <a:xfrm>
              <a:off x="4175578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7" name="bk object 47">
              <a:extLst>
                <a:ext uri="{FF2B5EF4-FFF2-40B4-BE49-F238E27FC236}">
                  <a16:creationId xmlns:a16="http://schemas.microsoft.com/office/drawing/2014/main" id="{B7E6C0D1-4E79-4A82-AE10-A94F38B36D01}"/>
                </a:ext>
              </a:extLst>
            </p:cNvPr>
            <p:cNvSpPr/>
            <p:nvPr/>
          </p:nvSpPr>
          <p:spPr>
            <a:xfrm>
              <a:off x="4496784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8" name="bk object 48">
              <a:extLst>
                <a:ext uri="{FF2B5EF4-FFF2-40B4-BE49-F238E27FC236}">
                  <a16:creationId xmlns:a16="http://schemas.microsoft.com/office/drawing/2014/main" id="{2376301F-C298-42E8-BB1E-16E0F921BE38}"/>
                </a:ext>
              </a:extLst>
            </p:cNvPr>
            <p:cNvSpPr/>
            <p:nvPr/>
          </p:nvSpPr>
          <p:spPr>
            <a:xfrm>
              <a:off x="1605992" y="432467"/>
              <a:ext cx="107065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9" name="bk object 49">
              <a:extLst>
                <a:ext uri="{FF2B5EF4-FFF2-40B4-BE49-F238E27FC236}">
                  <a16:creationId xmlns:a16="http://schemas.microsoft.com/office/drawing/2014/main" id="{CA2DCD89-DB61-4208-AFF8-3EA00780E57A}"/>
                </a:ext>
              </a:extLst>
            </p:cNvPr>
            <p:cNvSpPr/>
            <p:nvPr/>
          </p:nvSpPr>
          <p:spPr>
            <a:xfrm>
              <a:off x="1927186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0" name="bk object 50">
              <a:extLst>
                <a:ext uri="{FF2B5EF4-FFF2-40B4-BE49-F238E27FC236}">
                  <a16:creationId xmlns:a16="http://schemas.microsoft.com/office/drawing/2014/main" id="{AE8B1637-BC6B-4BE8-A944-B87CBCE6996E}"/>
                </a:ext>
              </a:extLst>
            </p:cNvPr>
            <p:cNvSpPr/>
            <p:nvPr/>
          </p:nvSpPr>
          <p:spPr>
            <a:xfrm>
              <a:off x="2248381" y="539533"/>
              <a:ext cx="107076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1" name="bk object 51">
              <a:extLst>
                <a:ext uri="{FF2B5EF4-FFF2-40B4-BE49-F238E27FC236}">
                  <a16:creationId xmlns:a16="http://schemas.microsoft.com/office/drawing/2014/main" id="{4091BD9A-9526-4D22-B40D-A8A533CD88CE}"/>
                </a:ext>
              </a:extLst>
            </p:cNvPr>
            <p:cNvSpPr/>
            <p:nvPr/>
          </p:nvSpPr>
          <p:spPr>
            <a:xfrm>
              <a:off x="2569586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2" name="bk object 52">
              <a:extLst>
                <a:ext uri="{FF2B5EF4-FFF2-40B4-BE49-F238E27FC236}">
                  <a16:creationId xmlns:a16="http://schemas.microsoft.com/office/drawing/2014/main" id="{CEA17DDC-EA4C-4F5E-A615-C3ACC84AD1EC}"/>
                </a:ext>
              </a:extLst>
            </p:cNvPr>
            <p:cNvSpPr/>
            <p:nvPr/>
          </p:nvSpPr>
          <p:spPr>
            <a:xfrm>
              <a:off x="2890791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3" name="bk object 53">
              <a:extLst>
                <a:ext uri="{FF2B5EF4-FFF2-40B4-BE49-F238E27FC236}">
                  <a16:creationId xmlns:a16="http://schemas.microsoft.com/office/drawing/2014/main" id="{00913525-0792-4938-82AC-40B127183264}"/>
                </a:ext>
              </a:extLst>
            </p:cNvPr>
            <p:cNvSpPr/>
            <p:nvPr/>
          </p:nvSpPr>
          <p:spPr>
            <a:xfrm>
              <a:off x="0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4" name="bk object 54">
              <a:extLst>
                <a:ext uri="{FF2B5EF4-FFF2-40B4-BE49-F238E27FC236}">
                  <a16:creationId xmlns:a16="http://schemas.microsoft.com/office/drawing/2014/main" id="{86BD8238-4F53-4BC5-B09F-B76686737ED0}"/>
                </a:ext>
              </a:extLst>
            </p:cNvPr>
            <p:cNvSpPr/>
            <p:nvPr/>
          </p:nvSpPr>
          <p:spPr>
            <a:xfrm>
              <a:off x="321172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5" name="bk object 55">
              <a:extLst>
                <a:ext uri="{FF2B5EF4-FFF2-40B4-BE49-F238E27FC236}">
                  <a16:creationId xmlns:a16="http://schemas.microsoft.com/office/drawing/2014/main" id="{F6196142-79A1-469F-BDE4-F4FEBAE6C317}"/>
                </a:ext>
              </a:extLst>
            </p:cNvPr>
            <p:cNvSpPr/>
            <p:nvPr/>
          </p:nvSpPr>
          <p:spPr>
            <a:xfrm>
              <a:off x="642367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6" name="bk object 56">
              <a:extLst>
                <a:ext uri="{FF2B5EF4-FFF2-40B4-BE49-F238E27FC236}">
                  <a16:creationId xmlns:a16="http://schemas.microsoft.com/office/drawing/2014/main" id="{1663B7AF-6EDE-4020-B1AE-875541ECF2D5}"/>
                </a:ext>
              </a:extLst>
            </p:cNvPr>
            <p:cNvSpPr/>
            <p:nvPr/>
          </p:nvSpPr>
          <p:spPr>
            <a:xfrm>
              <a:off x="963593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7" name="bk object 57">
              <a:extLst>
                <a:ext uri="{FF2B5EF4-FFF2-40B4-BE49-F238E27FC236}">
                  <a16:creationId xmlns:a16="http://schemas.microsoft.com/office/drawing/2014/main" id="{67DAE591-AA7C-4CDE-9352-197952D59235}"/>
                </a:ext>
              </a:extLst>
            </p:cNvPr>
            <p:cNvSpPr/>
            <p:nvPr/>
          </p:nvSpPr>
          <p:spPr>
            <a:xfrm>
              <a:off x="1284798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8" name="bk object 58">
              <a:extLst>
                <a:ext uri="{FF2B5EF4-FFF2-40B4-BE49-F238E27FC236}">
                  <a16:creationId xmlns:a16="http://schemas.microsoft.com/office/drawing/2014/main" id="{5F1D259D-E2D2-4C24-8086-EF8CFDB40FE8}"/>
                </a:ext>
              </a:extLst>
            </p:cNvPr>
            <p:cNvSpPr/>
            <p:nvPr/>
          </p:nvSpPr>
          <p:spPr>
            <a:xfrm>
              <a:off x="11563174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9" name="bk object 59">
              <a:extLst>
                <a:ext uri="{FF2B5EF4-FFF2-40B4-BE49-F238E27FC236}">
                  <a16:creationId xmlns:a16="http://schemas.microsoft.com/office/drawing/2014/main" id="{6939EB6A-74E4-4374-B6A9-3AC3B2531B63}"/>
                </a:ext>
              </a:extLst>
            </p:cNvPr>
            <p:cNvSpPr/>
            <p:nvPr/>
          </p:nvSpPr>
          <p:spPr>
            <a:xfrm>
              <a:off x="11884369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0" name="bk object 60">
              <a:extLst>
                <a:ext uri="{FF2B5EF4-FFF2-40B4-BE49-F238E27FC236}">
                  <a16:creationId xmlns:a16="http://schemas.microsoft.com/office/drawing/2014/main" id="{731FFAFA-F13E-48B0-917B-D9D4FDC61729}"/>
                </a:ext>
              </a:extLst>
            </p:cNvPr>
            <p:cNvSpPr/>
            <p:nvPr/>
          </p:nvSpPr>
          <p:spPr>
            <a:xfrm>
              <a:off x="12205575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1" name="bk object 61">
              <a:extLst>
                <a:ext uri="{FF2B5EF4-FFF2-40B4-BE49-F238E27FC236}">
                  <a16:creationId xmlns:a16="http://schemas.microsoft.com/office/drawing/2014/main" id="{01602E46-BBC6-4AD5-AB85-13C460F68411}"/>
                </a:ext>
              </a:extLst>
            </p:cNvPr>
            <p:cNvSpPr/>
            <p:nvPr/>
          </p:nvSpPr>
          <p:spPr>
            <a:xfrm>
              <a:off x="12526757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2" name="Rectangle 139">
              <a:extLst>
                <a:ext uri="{FF2B5EF4-FFF2-40B4-BE49-F238E27FC236}">
                  <a16:creationId xmlns:a16="http://schemas.microsoft.com/office/drawing/2014/main" id="{E56EDDF9-6C21-48D0-AB33-2939F4FC5755}"/>
                </a:ext>
              </a:extLst>
            </p:cNvPr>
            <p:cNvSpPr/>
            <p:nvPr/>
          </p:nvSpPr>
          <p:spPr>
            <a:xfrm>
              <a:off x="12826047" y="3433"/>
              <a:ext cx="109890" cy="750346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3" name="Rectangle 140">
              <a:extLst>
                <a:ext uri="{FF2B5EF4-FFF2-40B4-BE49-F238E27FC236}">
                  <a16:creationId xmlns:a16="http://schemas.microsoft.com/office/drawing/2014/main" id="{5B73F172-BC24-4B07-B545-0E1666AAE57D}"/>
                </a:ext>
              </a:extLst>
            </p:cNvPr>
            <p:cNvSpPr/>
            <p:nvPr/>
          </p:nvSpPr>
          <p:spPr>
            <a:xfrm>
              <a:off x="13148848" y="540866"/>
              <a:ext cx="106456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4" name="Rectangle 141">
              <a:extLst>
                <a:ext uri="{FF2B5EF4-FFF2-40B4-BE49-F238E27FC236}">
                  <a16:creationId xmlns:a16="http://schemas.microsoft.com/office/drawing/2014/main" id="{8C47B220-DB7D-4381-8D35-A5F49599445E}"/>
                </a:ext>
              </a:extLst>
            </p:cNvPr>
            <p:cNvSpPr/>
            <p:nvPr/>
          </p:nvSpPr>
          <p:spPr>
            <a:xfrm>
              <a:off x="13468218" y="540866"/>
              <a:ext cx="109890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5" name="Rectangle 142">
              <a:extLst>
                <a:ext uri="{FF2B5EF4-FFF2-40B4-BE49-F238E27FC236}">
                  <a16:creationId xmlns:a16="http://schemas.microsoft.com/office/drawing/2014/main" id="{94489FA0-6BDE-4FB6-A1C5-F8C5F782A25A}"/>
                </a:ext>
              </a:extLst>
            </p:cNvPr>
            <p:cNvSpPr/>
            <p:nvPr/>
          </p:nvSpPr>
          <p:spPr>
            <a:xfrm>
              <a:off x="13791020" y="540866"/>
              <a:ext cx="106456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6" name="Rectangle 143">
              <a:extLst>
                <a:ext uri="{FF2B5EF4-FFF2-40B4-BE49-F238E27FC236}">
                  <a16:creationId xmlns:a16="http://schemas.microsoft.com/office/drawing/2014/main" id="{DFA89405-F5B7-4A96-A68C-4FAD9312E07E}"/>
                </a:ext>
              </a:extLst>
            </p:cNvPr>
            <p:cNvSpPr/>
            <p:nvPr/>
          </p:nvSpPr>
          <p:spPr>
            <a:xfrm>
              <a:off x="14113822" y="540866"/>
              <a:ext cx="106456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7" name="Freeform 144">
              <a:extLst>
                <a:ext uri="{FF2B5EF4-FFF2-40B4-BE49-F238E27FC236}">
                  <a16:creationId xmlns:a16="http://schemas.microsoft.com/office/drawing/2014/main" id="{9647B8B7-AB16-4978-8279-1208C3AA9C81}"/>
                </a:ext>
              </a:extLst>
            </p:cNvPr>
            <p:cNvSpPr/>
            <p:nvPr/>
          </p:nvSpPr>
          <p:spPr>
            <a:xfrm>
              <a:off x="14003931" y="3433"/>
              <a:ext cx="322803" cy="430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0"/>
                  </a:lnTo>
                  <a:lnTo>
                    <a:pt x="0" y="5335"/>
                  </a:lnTo>
                  <a:lnTo>
                    <a:pt x="7353" y="5335"/>
                  </a:lnTo>
                  <a:lnTo>
                    <a:pt x="7353" y="21600"/>
                  </a:lnTo>
                  <a:lnTo>
                    <a:pt x="14477" y="21600"/>
                  </a:lnTo>
                  <a:lnTo>
                    <a:pt x="14477" y="5335"/>
                  </a:lnTo>
                  <a:lnTo>
                    <a:pt x="21600" y="5335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8" name="Rectangle 145">
              <a:extLst>
                <a:ext uri="{FF2B5EF4-FFF2-40B4-BE49-F238E27FC236}">
                  <a16:creationId xmlns:a16="http://schemas.microsoft.com/office/drawing/2014/main" id="{6618BA70-530D-455B-B4CA-7FA4E0C3D26C}"/>
                </a:ext>
              </a:extLst>
            </p:cNvPr>
            <p:cNvSpPr/>
            <p:nvPr/>
          </p:nvSpPr>
          <p:spPr>
            <a:xfrm>
              <a:off x="14433190" y="3433"/>
              <a:ext cx="106456" cy="750346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9" name="Freeform 146">
              <a:extLst>
                <a:ext uri="{FF2B5EF4-FFF2-40B4-BE49-F238E27FC236}">
                  <a16:creationId xmlns:a16="http://schemas.microsoft.com/office/drawing/2014/main" id="{17ED6A48-6A5C-40D7-87C6-F42C9D3F9D2A}"/>
                </a:ext>
              </a:extLst>
            </p:cNvPr>
            <p:cNvSpPr/>
            <p:nvPr/>
          </p:nvSpPr>
          <p:spPr>
            <a:xfrm>
              <a:off x="13148848" y="3433"/>
              <a:ext cx="319369" cy="430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916" y="10671"/>
                  </a:moveTo>
                  <a:lnTo>
                    <a:pt x="7200" y="10671"/>
                  </a:lnTo>
                  <a:lnTo>
                    <a:pt x="7200" y="5335"/>
                  </a:lnTo>
                  <a:lnTo>
                    <a:pt x="11613" y="5335"/>
                  </a:lnTo>
                  <a:lnTo>
                    <a:pt x="12310" y="5508"/>
                  </a:lnTo>
                  <a:lnTo>
                    <a:pt x="13471" y="6196"/>
                  </a:lnTo>
                  <a:lnTo>
                    <a:pt x="14168" y="7057"/>
                  </a:lnTo>
                  <a:lnTo>
                    <a:pt x="14400" y="7401"/>
                  </a:lnTo>
                  <a:lnTo>
                    <a:pt x="14400" y="8606"/>
                  </a:lnTo>
                  <a:lnTo>
                    <a:pt x="14168" y="9122"/>
                  </a:lnTo>
                  <a:lnTo>
                    <a:pt x="13471" y="9982"/>
                  </a:lnTo>
                  <a:lnTo>
                    <a:pt x="12310" y="10499"/>
                  </a:lnTo>
                  <a:lnTo>
                    <a:pt x="11613" y="10671"/>
                  </a:lnTo>
                  <a:lnTo>
                    <a:pt x="10916" y="10671"/>
                  </a:lnTo>
                  <a:close/>
                  <a:moveTo>
                    <a:pt x="10916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7200" y="21600"/>
                  </a:lnTo>
                  <a:lnTo>
                    <a:pt x="7200" y="16006"/>
                  </a:lnTo>
                  <a:lnTo>
                    <a:pt x="10916" y="16006"/>
                  </a:lnTo>
                  <a:lnTo>
                    <a:pt x="13006" y="15834"/>
                  </a:lnTo>
                  <a:lnTo>
                    <a:pt x="15097" y="15490"/>
                  </a:lnTo>
                  <a:lnTo>
                    <a:pt x="16955" y="14629"/>
                  </a:lnTo>
                  <a:lnTo>
                    <a:pt x="18581" y="13769"/>
                  </a:lnTo>
                  <a:lnTo>
                    <a:pt x="19974" y="12564"/>
                  </a:lnTo>
                  <a:lnTo>
                    <a:pt x="20903" y="11187"/>
                  </a:lnTo>
                  <a:lnTo>
                    <a:pt x="21600" y="9638"/>
                  </a:lnTo>
                  <a:lnTo>
                    <a:pt x="21600" y="6368"/>
                  </a:lnTo>
                  <a:lnTo>
                    <a:pt x="20903" y="4819"/>
                  </a:lnTo>
                  <a:lnTo>
                    <a:pt x="19974" y="3614"/>
                  </a:lnTo>
                  <a:lnTo>
                    <a:pt x="18581" y="2410"/>
                  </a:lnTo>
                  <a:lnTo>
                    <a:pt x="16955" y="1377"/>
                  </a:lnTo>
                  <a:lnTo>
                    <a:pt x="15097" y="688"/>
                  </a:lnTo>
                  <a:lnTo>
                    <a:pt x="13006" y="172"/>
                  </a:lnTo>
                  <a:lnTo>
                    <a:pt x="10916" y="0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0" name="Freeform 149">
              <a:extLst>
                <a:ext uri="{FF2B5EF4-FFF2-40B4-BE49-F238E27FC236}">
                  <a16:creationId xmlns:a16="http://schemas.microsoft.com/office/drawing/2014/main" id="{41F6A270-6172-4F7D-BBF0-CB4700F25086}"/>
                </a:ext>
              </a:extLst>
            </p:cNvPr>
            <p:cNvSpPr/>
            <p:nvPr/>
          </p:nvSpPr>
          <p:spPr>
            <a:xfrm>
              <a:off x="13547201" y="0"/>
              <a:ext cx="367445" cy="4344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516" y="21600"/>
                  </a:moveTo>
                  <a:lnTo>
                    <a:pt x="10093" y="21429"/>
                  </a:lnTo>
                  <a:lnTo>
                    <a:pt x="7873" y="20746"/>
                  </a:lnTo>
                  <a:lnTo>
                    <a:pt x="6662" y="20405"/>
                  </a:lnTo>
                  <a:lnTo>
                    <a:pt x="5652" y="19892"/>
                  </a:lnTo>
                  <a:lnTo>
                    <a:pt x="4643" y="19124"/>
                  </a:lnTo>
                  <a:lnTo>
                    <a:pt x="2826" y="17587"/>
                  </a:lnTo>
                  <a:lnTo>
                    <a:pt x="2019" y="16734"/>
                  </a:lnTo>
                  <a:lnTo>
                    <a:pt x="1413" y="15880"/>
                  </a:lnTo>
                  <a:lnTo>
                    <a:pt x="807" y="14855"/>
                  </a:lnTo>
                  <a:lnTo>
                    <a:pt x="404" y="13831"/>
                  </a:lnTo>
                  <a:lnTo>
                    <a:pt x="0" y="11782"/>
                  </a:lnTo>
                  <a:lnTo>
                    <a:pt x="0" y="9733"/>
                  </a:lnTo>
                  <a:lnTo>
                    <a:pt x="404" y="7684"/>
                  </a:lnTo>
                  <a:lnTo>
                    <a:pt x="807" y="6659"/>
                  </a:lnTo>
                  <a:lnTo>
                    <a:pt x="1413" y="5635"/>
                  </a:lnTo>
                  <a:lnTo>
                    <a:pt x="2019" y="4781"/>
                  </a:lnTo>
                  <a:lnTo>
                    <a:pt x="2826" y="3927"/>
                  </a:lnTo>
                  <a:lnTo>
                    <a:pt x="4643" y="2391"/>
                  </a:lnTo>
                  <a:lnTo>
                    <a:pt x="5652" y="1878"/>
                  </a:lnTo>
                  <a:lnTo>
                    <a:pt x="6662" y="1195"/>
                  </a:lnTo>
                  <a:lnTo>
                    <a:pt x="7873" y="854"/>
                  </a:lnTo>
                  <a:lnTo>
                    <a:pt x="10093" y="171"/>
                  </a:lnTo>
                  <a:lnTo>
                    <a:pt x="12516" y="0"/>
                  </a:lnTo>
                  <a:lnTo>
                    <a:pt x="14938" y="171"/>
                  </a:lnTo>
                  <a:lnTo>
                    <a:pt x="18572" y="1195"/>
                  </a:lnTo>
                  <a:lnTo>
                    <a:pt x="19581" y="1878"/>
                  </a:lnTo>
                  <a:lnTo>
                    <a:pt x="20591" y="2391"/>
                  </a:lnTo>
                  <a:lnTo>
                    <a:pt x="21600" y="3244"/>
                  </a:lnTo>
                  <a:lnTo>
                    <a:pt x="17159" y="7001"/>
                  </a:lnTo>
                  <a:lnTo>
                    <a:pt x="16150" y="6318"/>
                  </a:lnTo>
                  <a:lnTo>
                    <a:pt x="14938" y="5806"/>
                  </a:lnTo>
                  <a:lnTo>
                    <a:pt x="13727" y="5464"/>
                  </a:lnTo>
                  <a:lnTo>
                    <a:pt x="12516" y="5293"/>
                  </a:lnTo>
                  <a:lnTo>
                    <a:pt x="11305" y="5464"/>
                  </a:lnTo>
                  <a:lnTo>
                    <a:pt x="10093" y="5806"/>
                  </a:lnTo>
                  <a:lnTo>
                    <a:pt x="9084" y="6318"/>
                  </a:lnTo>
                  <a:lnTo>
                    <a:pt x="8075" y="7001"/>
                  </a:lnTo>
                  <a:lnTo>
                    <a:pt x="7267" y="7855"/>
                  </a:lnTo>
                  <a:lnTo>
                    <a:pt x="6662" y="8708"/>
                  </a:lnTo>
                  <a:lnTo>
                    <a:pt x="6258" y="9733"/>
                  </a:lnTo>
                  <a:lnTo>
                    <a:pt x="6258" y="11782"/>
                  </a:lnTo>
                  <a:lnTo>
                    <a:pt x="6662" y="12806"/>
                  </a:lnTo>
                  <a:lnTo>
                    <a:pt x="7267" y="13831"/>
                  </a:lnTo>
                  <a:lnTo>
                    <a:pt x="8075" y="14514"/>
                  </a:lnTo>
                  <a:lnTo>
                    <a:pt x="9084" y="15197"/>
                  </a:lnTo>
                  <a:lnTo>
                    <a:pt x="10093" y="15709"/>
                  </a:lnTo>
                  <a:lnTo>
                    <a:pt x="11305" y="16051"/>
                  </a:lnTo>
                  <a:lnTo>
                    <a:pt x="12516" y="16221"/>
                  </a:lnTo>
                  <a:lnTo>
                    <a:pt x="13727" y="16051"/>
                  </a:lnTo>
                  <a:lnTo>
                    <a:pt x="14938" y="15709"/>
                  </a:lnTo>
                  <a:lnTo>
                    <a:pt x="16150" y="15197"/>
                  </a:lnTo>
                  <a:lnTo>
                    <a:pt x="17159" y="14514"/>
                  </a:lnTo>
                  <a:lnTo>
                    <a:pt x="21600" y="18270"/>
                  </a:lnTo>
                  <a:lnTo>
                    <a:pt x="20591" y="19124"/>
                  </a:lnTo>
                  <a:lnTo>
                    <a:pt x="19581" y="19892"/>
                  </a:lnTo>
                  <a:lnTo>
                    <a:pt x="18572" y="20405"/>
                  </a:lnTo>
                  <a:lnTo>
                    <a:pt x="14938" y="21429"/>
                  </a:lnTo>
                  <a:lnTo>
                    <a:pt x="12516" y="21600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0479582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9B528585-65F7-46F1-A681-CD4CA9AD04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5955CD81-A7A3-427E-9DBE-D89CA5DA2A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C977505-5CC5-4F87-8F3B-2A78D7747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20D6CE3-AECF-4569-8ACD-33472A92AED1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88279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E250493-58C8-4BD0-9E24-87E8FB3193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800">
                <a:latin typeface="Circe Bold" panose="020B0602020203020203" pitchFamily="34" charset="-52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E8BF7BD-609E-4ECC-99A2-31DC1C81DC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Circe Light" panose="020B0402020203020203" pitchFamily="34" charset="-52"/>
              </a:defRPr>
            </a:lvl1pPr>
            <a:lvl2pPr>
              <a:defRPr sz="2800">
                <a:latin typeface="Circe Light" panose="020B0402020203020203" pitchFamily="34" charset="-52"/>
              </a:defRPr>
            </a:lvl2pPr>
            <a:lvl3pPr>
              <a:defRPr sz="2400">
                <a:latin typeface="Circe Light" panose="020B0402020203020203" pitchFamily="34" charset="-52"/>
              </a:defRPr>
            </a:lvl3pPr>
            <a:lvl4pPr>
              <a:defRPr sz="2000">
                <a:latin typeface="Circe Light" panose="020B0402020203020203" pitchFamily="34" charset="-52"/>
              </a:defRPr>
            </a:lvl4pPr>
            <a:lvl5pPr>
              <a:defRPr sz="2000">
                <a:latin typeface="Circe Light" panose="020B0402020203020203" pitchFamily="34" charset="-52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28513B8-9D38-448C-BB3A-158F3B9FDC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Circe Light" panose="020B0402020203020203" pitchFamily="34" charset="-52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7F05FB51-AFF8-4E08-99BD-71E3EF83A2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174A73CE-7654-4060-8AE6-492708DF1B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4F74407-F217-45A3-8543-5F22D8AC65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fld id="{ABD3CA49-83D1-4CA9-86DF-107C978CE4E4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6611672"/>
      </p:ext>
    </p:extLst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3FC7751-7EAD-4B90-8138-C7B5585881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A5286F2-0976-4785-B829-EA0B017EF8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E6330CA-EDB2-4BF6-9147-D53FBAC2B9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29864C6-962C-415E-826E-3A7B69F85B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43C3D9A-DCD3-4216-97C2-68EBB9EE3F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irce" panose="020F0502020204030204" pitchFamily="34" charset="-52"/>
              </a:defRPr>
            </a:lvl1pPr>
          </a:lstStyle>
          <a:p>
            <a:pPr>
              <a:defRPr/>
            </a:pPr>
            <a:fld id="{9F66621E-3BA2-4874-9369-94CA2E5E1228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  <p:grpSp>
        <p:nvGrpSpPr>
          <p:cNvPr id="7" name="Группа 69">
            <a:extLst>
              <a:ext uri="{FF2B5EF4-FFF2-40B4-BE49-F238E27FC236}">
                <a16:creationId xmlns:a16="http://schemas.microsoft.com/office/drawing/2014/main" id="{056EF233-C642-4AA2-82D3-79D022D810E3}"/>
              </a:ext>
            </a:extLst>
          </p:cNvPr>
          <p:cNvGrpSpPr/>
          <p:nvPr userDrawn="1"/>
        </p:nvGrpSpPr>
        <p:grpSpPr>
          <a:xfrm>
            <a:off x="1188976" y="6403911"/>
            <a:ext cx="9814048" cy="457574"/>
            <a:chOff x="0" y="0"/>
            <a:chExt cx="16167043" cy="753778"/>
          </a:xfrm>
          <a:solidFill>
            <a:srgbClr val="004E6B"/>
          </a:solidFill>
        </p:grpSpPr>
        <p:sp>
          <p:nvSpPr>
            <p:cNvPr id="8" name="bk object 17">
              <a:extLst>
                <a:ext uri="{FF2B5EF4-FFF2-40B4-BE49-F238E27FC236}">
                  <a16:creationId xmlns:a16="http://schemas.microsoft.com/office/drawing/2014/main" id="{CDA7B618-E798-4F4E-BC04-69AA40C29CB4}"/>
                </a:ext>
              </a:extLst>
            </p:cNvPr>
            <p:cNvSpPr/>
            <p:nvPr/>
          </p:nvSpPr>
          <p:spPr>
            <a:xfrm>
              <a:off x="14775181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9" name="bk object 18">
              <a:extLst>
                <a:ext uri="{FF2B5EF4-FFF2-40B4-BE49-F238E27FC236}">
                  <a16:creationId xmlns:a16="http://schemas.microsoft.com/office/drawing/2014/main" id="{AF290347-90CD-4000-8219-76DF184C7D04}"/>
                </a:ext>
              </a:extLst>
            </p:cNvPr>
            <p:cNvSpPr/>
            <p:nvPr/>
          </p:nvSpPr>
          <p:spPr>
            <a:xfrm>
              <a:off x="15096387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0" name="bk object 19">
              <a:extLst>
                <a:ext uri="{FF2B5EF4-FFF2-40B4-BE49-F238E27FC236}">
                  <a16:creationId xmlns:a16="http://schemas.microsoft.com/office/drawing/2014/main" id="{490B0DF1-AF14-4CDB-AA75-3406EEC8FD79}"/>
                </a:ext>
              </a:extLst>
            </p:cNvPr>
            <p:cNvSpPr/>
            <p:nvPr/>
          </p:nvSpPr>
          <p:spPr>
            <a:xfrm>
              <a:off x="15417570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1" name="bk object 20">
              <a:extLst>
                <a:ext uri="{FF2B5EF4-FFF2-40B4-BE49-F238E27FC236}">
                  <a16:creationId xmlns:a16="http://schemas.microsoft.com/office/drawing/2014/main" id="{40A8CD36-05AB-467D-8909-B680EB2BF91E}"/>
                </a:ext>
              </a:extLst>
            </p:cNvPr>
            <p:cNvSpPr/>
            <p:nvPr/>
          </p:nvSpPr>
          <p:spPr>
            <a:xfrm>
              <a:off x="15738786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2" name="bk object 21">
              <a:extLst>
                <a:ext uri="{FF2B5EF4-FFF2-40B4-BE49-F238E27FC236}">
                  <a16:creationId xmlns:a16="http://schemas.microsoft.com/office/drawing/2014/main" id="{03CEE167-9786-46A3-98EC-58FAA069BE26}"/>
                </a:ext>
              </a:extLst>
            </p:cNvPr>
            <p:cNvSpPr/>
            <p:nvPr/>
          </p:nvSpPr>
          <p:spPr>
            <a:xfrm>
              <a:off x="16059980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3" name="bk object 22">
              <a:extLst>
                <a:ext uri="{FF2B5EF4-FFF2-40B4-BE49-F238E27FC236}">
                  <a16:creationId xmlns:a16="http://schemas.microsoft.com/office/drawing/2014/main" id="{4985A742-AD61-4874-AA58-67A99DCB8694}"/>
                </a:ext>
              </a:extLst>
            </p:cNvPr>
            <p:cNvSpPr/>
            <p:nvPr/>
          </p:nvSpPr>
          <p:spPr>
            <a:xfrm>
              <a:off x="9635978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4" name="bk object 23">
              <a:extLst>
                <a:ext uri="{FF2B5EF4-FFF2-40B4-BE49-F238E27FC236}">
                  <a16:creationId xmlns:a16="http://schemas.microsoft.com/office/drawing/2014/main" id="{028F994F-5E47-4BAB-A86A-83355CF9D7EB}"/>
                </a:ext>
              </a:extLst>
            </p:cNvPr>
            <p:cNvSpPr/>
            <p:nvPr/>
          </p:nvSpPr>
          <p:spPr>
            <a:xfrm>
              <a:off x="9957182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5" name="bk object 24">
              <a:extLst>
                <a:ext uri="{FF2B5EF4-FFF2-40B4-BE49-F238E27FC236}">
                  <a16:creationId xmlns:a16="http://schemas.microsoft.com/office/drawing/2014/main" id="{A814FA53-1FEC-4891-A443-24D9027D02A1}"/>
                </a:ext>
              </a:extLst>
            </p:cNvPr>
            <p:cNvSpPr/>
            <p:nvPr/>
          </p:nvSpPr>
          <p:spPr>
            <a:xfrm>
              <a:off x="10278377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6" name="bk object 25">
              <a:extLst>
                <a:ext uri="{FF2B5EF4-FFF2-40B4-BE49-F238E27FC236}">
                  <a16:creationId xmlns:a16="http://schemas.microsoft.com/office/drawing/2014/main" id="{CD3186C5-A8CE-4D12-97EC-F46D1945E6CD}"/>
                </a:ext>
              </a:extLst>
            </p:cNvPr>
            <p:cNvSpPr/>
            <p:nvPr/>
          </p:nvSpPr>
          <p:spPr>
            <a:xfrm>
              <a:off x="10599570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7" name="bk object 26">
              <a:extLst>
                <a:ext uri="{FF2B5EF4-FFF2-40B4-BE49-F238E27FC236}">
                  <a16:creationId xmlns:a16="http://schemas.microsoft.com/office/drawing/2014/main" id="{F55B0B48-5E62-4973-8654-6163A3292EA7}"/>
                </a:ext>
              </a:extLst>
            </p:cNvPr>
            <p:cNvSpPr/>
            <p:nvPr/>
          </p:nvSpPr>
          <p:spPr>
            <a:xfrm>
              <a:off x="10920765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8" name="bk object 27">
              <a:extLst>
                <a:ext uri="{FF2B5EF4-FFF2-40B4-BE49-F238E27FC236}">
                  <a16:creationId xmlns:a16="http://schemas.microsoft.com/office/drawing/2014/main" id="{F0670F44-8A55-4887-863A-4AD187061FDC}"/>
                </a:ext>
              </a:extLst>
            </p:cNvPr>
            <p:cNvSpPr/>
            <p:nvPr/>
          </p:nvSpPr>
          <p:spPr>
            <a:xfrm>
              <a:off x="11241981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19" name="bk object 28">
              <a:extLst>
                <a:ext uri="{FF2B5EF4-FFF2-40B4-BE49-F238E27FC236}">
                  <a16:creationId xmlns:a16="http://schemas.microsoft.com/office/drawing/2014/main" id="{766799F6-DC3A-4986-A4A6-C0045BDAEA55}"/>
                </a:ext>
              </a:extLst>
            </p:cNvPr>
            <p:cNvSpPr/>
            <p:nvPr/>
          </p:nvSpPr>
          <p:spPr>
            <a:xfrm>
              <a:off x="8029985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0" name="bk object 29">
              <a:extLst>
                <a:ext uri="{FF2B5EF4-FFF2-40B4-BE49-F238E27FC236}">
                  <a16:creationId xmlns:a16="http://schemas.microsoft.com/office/drawing/2014/main" id="{9B20ED56-2CE1-4E39-81F8-A1F971CF1FA8}"/>
                </a:ext>
              </a:extLst>
            </p:cNvPr>
            <p:cNvSpPr/>
            <p:nvPr/>
          </p:nvSpPr>
          <p:spPr>
            <a:xfrm>
              <a:off x="8351179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1" name="bk object 30">
              <a:extLst>
                <a:ext uri="{FF2B5EF4-FFF2-40B4-BE49-F238E27FC236}">
                  <a16:creationId xmlns:a16="http://schemas.microsoft.com/office/drawing/2014/main" id="{3BE473EC-5013-40FD-BC89-2401C1F18FF7}"/>
                </a:ext>
              </a:extLst>
            </p:cNvPr>
            <p:cNvSpPr/>
            <p:nvPr/>
          </p:nvSpPr>
          <p:spPr>
            <a:xfrm>
              <a:off x="8672372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2" name="bk object 31">
              <a:extLst>
                <a:ext uri="{FF2B5EF4-FFF2-40B4-BE49-F238E27FC236}">
                  <a16:creationId xmlns:a16="http://schemas.microsoft.com/office/drawing/2014/main" id="{A09586F8-DDA3-4EA4-88A7-2B9D84AD2C09}"/>
                </a:ext>
              </a:extLst>
            </p:cNvPr>
            <p:cNvSpPr/>
            <p:nvPr/>
          </p:nvSpPr>
          <p:spPr>
            <a:xfrm>
              <a:off x="8993589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3" name="bk object 32">
              <a:extLst>
                <a:ext uri="{FF2B5EF4-FFF2-40B4-BE49-F238E27FC236}">
                  <a16:creationId xmlns:a16="http://schemas.microsoft.com/office/drawing/2014/main" id="{BAD2207F-67F1-4EAA-9C9C-3818B6C34C4B}"/>
                </a:ext>
              </a:extLst>
            </p:cNvPr>
            <p:cNvSpPr/>
            <p:nvPr/>
          </p:nvSpPr>
          <p:spPr>
            <a:xfrm>
              <a:off x="9314783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4" name="bk object 33">
              <a:extLst>
                <a:ext uri="{FF2B5EF4-FFF2-40B4-BE49-F238E27FC236}">
                  <a16:creationId xmlns:a16="http://schemas.microsoft.com/office/drawing/2014/main" id="{D14C6657-0462-40F2-B003-4A6508D16DB9}"/>
                </a:ext>
              </a:extLst>
            </p:cNvPr>
            <p:cNvSpPr/>
            <p:nvPr/>
          </p:nvSpPr>
          <p:spPr>
            <a:xfrm>
              <a:off x="6423971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5" name="bk object 34">
              <a:extLst>
                <a:ext uri="{FF2B5EF4-FFF2-40B4-BE49-F238E27FC236}">
                  <a16:creationId xmlns:a16="http://schemas.microsoft.com/office/drawing/2014/main" id="{84D0AEDF-CD29-4E0E-8CDB-338EDABE09EE}"/>
                </a:ext>
              </a:extLst>
            </p:cNvPr>
            <p:cNvSpPr/>
            <p:nvPr/>
          </p:nvSpPr>
          <p:spPr>
            <a:xfrm>
              <a:off x="6745186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6" name="bk object 35">
              <a:extLst>
                <a:ext uri="{FF2B5EF4-FFF2-40B4-BE49-F238E27FC236}">
                  <a16:creationId xmlns:a16="http://schemas.microsoft.com/office/drawing/2014/main" id="{5018AB6C-0177-4EDB-98F4-9FCBC351FAB8}"/>
                </a:ext>
              </a:extLst>
            </p:cNvPr>
            <p:cNvSpPr/>
            <p:nvPr/>
          </p:nvSpPr>
          <p:spPr>
            <a:xfrm>
              <a:off x="7066381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7" name="bk object 36">
              <a:extLst>
                <a:ext uri="{FF2B5EF4-FFF2-40B4-BE49-F238E27FC236}">
                  <a16:creationId xmlns:a16="http://schemas.microsoft.com/office/drawing/2014/main" id="{37B3C5DD-8691-4F30-A1D3-304150B37B58}"/>
                </a:ext>
              </a:extLst>
            </p:cNvPr>
            <p:cNvSpPr/>
            <p:nvPr/>
          </p:nvSpPr>
          <p:spPr>
            <a:xfrm>
              <a:off x="7387554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8" name="bk object 37">
              <a:extLst>
                <a:ext uri="{FF2B5EF4-FFF2-40B4-BE49-F238E27FC236}">
                  <a16:creationId xmlns:a16="http://schemas.microsoft.com/office/drawing/2014/main" id="{C919B710-FB3D-4DC1-9D58-80809AB41F34}"/>
                </a:ext>
              </a:extLst>
            </p:cNvPr>
            <p:cNvSpPr/>
            <p:nvPr/>
          </p:nvSpPr>
          <p:spPr>
            <a:xfrm>
              <a:off x="7708790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29" name="bk object 38">
              <a:extLst>
                <a:ext uri="{FF2B5EF4-FFF2-40B4-BE49-F238E27FC236}">
                  <a16:creationId xmlns:a16="http://schemas.microsoft.com/office/drawing/2014/main" id="{0CE72F35-2B8B-46AC-A37E-E357CDDD54BD}"/>
                </a:ext>
              </a:extLst>
            </p:cNvPr>
            <p:cNvSpPr/>
            <p:nvPr/>
          </p:nvSpPr>
          <p:spPr>
            <a:xfrm>
              <a:off x="4817978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0" name="bk object 39">
              <a:extLst>
                <a:ext uri="{FF2B5EF4-FFF2-40B4-BE49-F238E27FC236}">
                  <a16:creationId xmlns:a16="http://schemas.microsoft.com/office/drawing/2014/main" id="{17A053CB-84A3-4FBB-AD05-206EBECA0DDB}"/>
                </a:ext>
              </a:extLst>
            </p:cNvPr>
            <p:cNvSpPr/>
            <p:nvPr/>
          </p:nvSpPr>
          <p:spPr>
            <a:xfrm>
              <a:off x="5139172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1" name="bk object 40">
              <a:extLst>
                <a:ext uri="{FF2B5EF4-FFF2-40B4-BE49-F238E27FC236}">
                  <a16:creationId xmlns:a16="http://schemas.microsoft.com/office/drawing/2014/main" id="{BF3844D0-9B73-4C77-809C-34E1A4945434}"/>
                </a:ext>
              </a:extLst>
            </p:cNvPr>
            <p:cNvSpPr/>
            <p:nvPr/>
          </p:nvSpPr>
          <p:spPr>
            <a:xfrm>
              <a:off x="5460366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2" name="bk object 41">
              <a:extLst>
                <a:ext uri="{FF2B5EF4-FFF2-40B4-BE49-F238E27FC236}">
                  <a16:creationId xmlns:a16="http://schemas.microsoft.com/office/drawing/2014/main" id="{66844C86-7AC2-4318-B4D0-ACBADEA5D4B3}"/>
                </a:ext>
              </a:extLst>
            </p:cNvPr>
            <p:cNvSpPr/>
            <p:nvPr/>
          </p:nvSpPr>
          <p:spPr>
            <a:xfrm>
              <a:off x="5781561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3" name="bk object 42">
              <a:extLst>
                <a:ext uri="{FF2B5EF4-FFF2-40B4-BE49-F238E27FC236}">
                  <a16:creationId xmlns:a16="http://schemas.microsoft.com/office/drawing/2014/main" id="{D0129C0A-384D-4289-9188-BAF5CD6B2634}"/>
                </a:ext>
              </a:extLst>
            </p:cNvPr>
            <p:cNvSpPr/>
            <p:nvPr/>
          </p:nvSpPr>
          <p:spPr>
            <a:xfrm>
              <a:off x="6102777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4" name="bk object 43">
              <a:extLst>
                <a:ext uri="{FF2B5EF4-FFF2-40B4-BE49-F238E27FC236}">
                  <a16:creationId xmlns:a16="http://schemas.microsoft.com/office/drawing/2014/main" id="{68588450-2470-4464-9996-AD7FBADE8949}"/>
                </a:ext>
              </a:extLst>
            </p:cNvPr>
            <p:cNvSpPr/>
            <p:nvPr/>
          </p:nvSpPr>
          <p:spPr>
            <a:xfrm>
              <a:off x="3211985" y="432467"/>
              <a:ext cx="107065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5" name="bk object 44">
              <a:extLst>
                <a:ext uri="{FF2B5EF4-FFF2-40B4-BE49-F238E27FC236}">
                  <a16:creationId xmlns:a16="http://schemas.microsoft.com/office/drawing/2014/main" id="{D8793DB9-27E2-411C-94BB-1D4A4C08DE69}"/>
                </a:ext>
              </a:extLst>
            </p:cNvPr>
            <p:cNvSpPr/>
            <p:nvPr/>
          </p:nvSpPr>
          <p:spPr>
            <a:xfrm>
              <a:off x="3533179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6" name="bk object 45">
              <a:extLst>
                <a:ext uri="{FF2B5EF4-FFF2-40B4-BE49-F238E27FC236}">
                  <a16:creationId xmlns:a16="http://schemas.microsoft.com/office/drawing/2014/main" id="{A6E05BD4-5FD2-4668-B19A-FC78A09402D7}"/>
                </a:ext>
              </a:extLst>
            </p:cNvPr>
            <p:cNvSpPr/>
            <p:nvPr/>
          </p:nvSpPr>
          <p:spPr>
            <a:xfrm>
              <a:off x="3854374" y="539533"/>
              <a:ext cx="107076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7" name="bk object 46">
              <a:extLst>
                <a:ext uri="{FF2B5EF4-FFF2-40B4-BE49-F238E27FC236}">
                  <a16:creationId xmlns:a16="http://schemas.microsoft.com/office/drawing/2014/main" id="{365F1966-5399-4CAC-9C5D-3A2F472823FF}"/>
                </a:ext>
              </a:extLst>
            </p:cNvPr>
            <p:cNvSpPr/>
            <p:nvPr/>
          </p:nvSpPr>
          <p:spPr>
            <a:xfrm>
              <a:off x="4175578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8" name="bk object 47">
              <a:extLst>
                <a:ext uri="{FF2B5EF4-FFF2-40B4-BE49-F238E27FC236}">
                  <a16:creationId xmlns:a16="http://schemas.microsoft.com/office/drawing/2014/main" id="{58B23F2E-B576-4E9F-A38D-83E2FC7A7F47}"/>
                </a:ext>
              </a:extLst>
            </p:cNvPr>
            <p:cNvSpPr/>
            <p:nvPr/>
          </p:nvSpPr>
          <p:spPr>
            <a:xfrm>
              <a:off x="4496784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39" name="bk object 48">
              <a:extLst>
                <a:ext uri="{FF2B5EF4-FFF2-40B4-BE49-F238E27FC236}">
                  <a16:creationId xmlns:a16="http://schemas.microsoft.com/office/drawing/2014/main" id="{D63FC6F0-794A-4959-A34F-067401466E7C}"/>
                </a:ext>
              </a:extLst>
            </p:cNvPr>
            <p:cNvSpPr/>
            <p:nvPr/>
          </p:nvSpPr>
          <p:spPr>
            <a:xfrm>
              <a:off x="1605992" y="432467"/>
              <a:ext cx="107065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0" name="bk object 49">
              <a:extLst>
                <a:ext uri="{FF2B5EF4-FFF2-40B4-BE49-F238E27FC236}">
                  <a16:creationId xmlns:a16="http://schemas.microsoft.com/office/drawing/2014/main" id="{53B65E33-B83E-4559-9AA6-0DAC82AC94F2}"/>
                </a:ext>
              </a:extLst>
            </p:cNvPr>
            <p:cNvSpPr/>
            <p:nvPr/>
          </p:nvSpPr>
          <p:spPr>
            <a:xfrm>
              <a:off x="1927186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1" name="bk object 50">
              <a:extLst>
                <a:ext uri="{FF2B5EF4-FFF2-40B4-BE49-F238E27FC236}">
                  <a16:creationId xmlns:a16="http://schemas.microsoft.com/office/drawing/2014/main" id="{FD1303CE-B8C9-4A31-9F4D-EFE238F2331C}"/>
                </a:ext>
              </a:extLst>
            </p:cNvPr>
            <p:cNvSpPr/>
            <p:nvPr/>
          </p:nvSpPr>
          <p:spPr>
            <a:xfrm>
              <a:off x="2248381" y="539533"/>
              <a:ext cx="107076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2" name="bk object 51">
              <a:extLst>
                <a:ext uri="{FF2B5EF4-FFF2-40B4-BE49-F238E27FC236}">
                  <a16:creationId xmlns:a16="http://schemas.microsoft.com/office/drawing/2014/main" id="{0EC23479-1CFA-44AC-9FFC-0875E90CC5A9}"/>
                </a:ext>
              </a:extLst>
            </p:cNvPr>
            <p:cNvSpPr/>
            <p:nvPr/>
          </p:nvSpPr>
          <p:spPr>
            <a:xfrm>
              <a:off x="2569586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3" name="bk object 52">
              <a:extLst>
                <a:ext uri="{FF2B5EF4-FFF2-40B4-BE49-F238E27FC236}">
                  <a16:creationId xmlns:a16="http://schemas.microsoft.com/office/drawing/2014/main" id="{1DF529EF-E42A-4201-9D3E-DAD326A43538}"/>
                </a:ext>
              </a:extLst>
            </p:cNvPr>
            <p:cNvSpPr/>
            <p:nvPr/>
          </p:nvSpPr>
          <p:spPr>
            <a:xfrm>
              <a:off x="2890791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4" name="bk object 53">
              <a:extLst>
                <a:ext uri="{FF2B5EF4-FFF2-40B4-BE49-F238E27FC236}">
                  <a16:creationId xmlns:a16="http://schemas.microsoft.com/office/drawing/2014/main" id="{D93C0B75-F2F3-466E-940E-732A3BDE2C77}"/>
                </a:ext>
              </a:extLst>
            </p:cNvPr>
            <p:cNvSpPr/>
            <p:nvPr/>
          </p:nvSpPr>
          <p:spPr>
            <a:xfrm>
              <a:off x="0" y="432467"/>
              <a:ext cx="107064" cy="32128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5" name="bk object 54">
              <a:extLst>
                <a:ext uri="{FF2B5EF4-FFF2-40B4-BE49-F238E27FC236}">
                  <a16:creationId xmlns:a16="http://schemas.microsoft.com/office/drawing/2014/main" id="{CA9B9FB3-F7C0-44D7-BE2F-230BF3DA7CF9}"/>
                </a:ext>
              </a:extLst>
            </p:cNvPr>
            <p:cNvSpPr/>
            <p:nvPr/>
          </p:nvSpPr>
          <p:spPr>
            <a:xfrm>
              <a:off x="321172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6" name="bk object 55">
              <a:extLst>
                <a:ext uri="{FF2B5EF4-FFF2-40B4-BE49-F238E27FC236}">
                  <a16:creationId xmlns:a16="http://schemas.microsoft.com/office/drawing/2014/main" id="{738781B5-9DCF-4CB1-9FC3-8A38B2274BAA}"/>
                </a:ext>
              </a:extLst>
            </p:cNvPr>
            <p:cNvSpPr/>
            <p:nvPr/>
          </p:nvSpPr>
          <p:spPr>
            <a:xfrm>
              <a:off x="642367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7" name="bk object 56">
              <a:extLst>
                <a:ext uri="{FF2B5EF4-FFF2-40B4-BE49-F238E27FC236}">
                  <a16:creationId xmlns:a16="http://schemas.microsoft.com/office/drawing/2014/main" id="{A5D4EF56-4EB6-47CD-A197-C1A3600CA0D7}"/>
                </a:ext>
              </a:extLst>
            </p:cNvPr>
            <p:cNvSpPr/>
            <p:nvPr/>
          </p:nvSpPr>
          <p:spPr>
            <a:xfrm>
              <a:off x="963593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8" name="bk object 57">
              <a:extLst>
                <a:ext uri="{FF2B5EF4-FFF2-40B4-BE49-F238E27FC236}">
                  <a16:creationId xmlns:a16="http://schemas.microsoft.com/office/drawing/2014/main" id="{A98AAF29-B008-4DA9-8699-C3ADF04DEC4C}"/>
                </a:ext>
              </a:extLst>
            </p:cNvPr>
            <p:cNvSpPr/>
            <p:nvPr/>
          </p:nvSpPr>
          <p:spPr>
            <a:xfrm>
              <a:off x="1284798" y="539533"/>
              <a:ext cx="10706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49" name="bk object 58">
              <a:extLst>
                <a:ext uri="{FF2B5EF4-FFF2-40B4-BE49-F238E27FC236}">
                  <a16:creationId xmlns:a16="http://schemas.microsoft.com/office/drawing/2014/main" id="{E1C46AC9-7DF3-45C7-91D2-8A9D23E46F32}"/>
                </a:ext>
              </a:extLst>
            </p:cNvPr>
            <p:cNvSpPr/>
            <p:nvPr/>
          </p:nvSpPr>
          <p:spPr>
            <a:xfrm>
              <a:off x="11563174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0" name="bk object 59">
              <a:extLst>
                <a:ext uri="{FF2B5EF4-FFF2-40B4-BE49-F238E27FC236}">
                  <a16:creationId xmlns:a16="http://schemas.microsoft.com/office/drawing/2014/main" id="{9E57F539-D7C6-4778-9359-99345E3B3C94}"/>
                </a:ext>
              </a:extLst>
            </p:cNvPr>
            <p:cNvSpPr/>
            <p:nvPr/>
          </p:nvSpPr>
          <p:spPr>
            <a:xfrm>
              <a:off x="11884369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1" name="bk object 60">
              <a:extLst>
                <a:ext uri="{FF2B5EF4-FFF2-40B4-BE49-F238E27FC236}">
                  <a16:creationId xmlns:a16="http://schemas.microsoft.com/office/drawing/2014/main" id="{1DD83CC2-7CDD-425D-8026-78C14D3FFE74}"/>
                </a:ext>
              </a:extLst>
            </p:cNvPr>
            <p:cNvSpPr/>
            <p:nvPr/>
          </p:nvSpPr>
          <p:spPr>
            <a:xfrm>
              <a:off x="12205575" y="539533"/>
              <a:ext cx="107064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2" name="bk object 61">
              <a:extLst>
                <a:ext uri="{FF2B5EF4-FFF2-40B4-BE49-F238E27FC236}">
                  <a16:creationId xmlns:a16="http://schemas.microsoft.com/office/drawing/2014/main" id="{C5620F96-8FC8-482F-8BF6-6E41D7DEB3FB}"/>
                </a:ext>
              </a:extLst>
            </p:cNvPr>
            <p:cNvSpPr/>
            <p:nvPr/>
          </p:nvSpPr>
          <p:spPr>
            <a:xfrm>
              <a:off x="12526757" y="539533"/>
              <a:ext cx="107075" cy="214214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3" name="Rectangle 139">
              <a:extLst>
                <a:ext uri="{FF2B5EF4-FFF2-40B4-BE49-F238E27FC236}">
                  <a16:creationId xmlns:a16="http://schemas.microsoft.com/office/drawing/2014/main" id="{061A1254-EAAE-4DF5-B978-27D5FF14E097}"/>
                </a:ext>
              </a:extLst>
            </p:cNvPr>
            <p:cNvSpPr/>
            <p:nvPr/>
          </p:nvSpPr>
          <p:spPr>
            <a:xfrm>
              <a:off x="12826047" y="3433"/>
              <a:ext cx="109890" cy="750346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4" name="Rectangle 140">
              <a:extLst>
                <a:ext uri="{FF2B5EF4-FFF2-40B4-BE49-F238E27FC236}">
                  <a16:creationId xmlns:a16="http://schemas.microsoft.com/office/drawing/2014/main" id="{C7AD5CA1-5E23-465A-8336-FCB4F58E5E3E}"/>
                </a:ext>
              </a:extLst>
            </p:cNvPr>
            <p:cNvSpPr/>
            <p:nvPr/>
          </p:nvSpPr>
          <p:spPr>
            <a:xfrm>
              <a:off x="13148848" y="540866"/>
              <a:ext cx="106456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5" name="Rectangle 141">
              <a:extLst>
                <a:ext uri="{FF2B5EF4-FFF2-40B4-BE49-F238E27FC236}">
                  <a16:creationId xmlns:a16="http://schemas.microsoft.com/office/drawing/2014/main" id="{C117F386-F902-47D7-B3B7-E0D14F93A1FD}"/>
                </a:ext>
              </a:extLst>
            </p:cNvPr>
            <p:cNvSpPr/>
            <p:nvPr/>
          </p:nvSpPr>
          <p:spPr>
            <a:xfrm>
              <a:off x="13468218" y="540866"/>
              <a:ext cx="109890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6" name="Rectangle 142">
              <a:extLst>
                <a:ext uri="{FF2B5EF4-FFF2-40B4-BE49-F238E27FC236}">
                  <a16:creationId xmlns:a16="http://schemas.microsoft.com/office/drawing/2014/main" id="{29469318-AA5D-4CC4-9D20-61694461D6D1}"/>
                </a:ext>
              </a:extLst>
            </p:cNvPr>
            <p:cNvSpPr/>
            <p:nvPr/>
          </p:nvSpPr>
          <p:spPr>
            <a:xfrm>
              <a:off x="13791020" y="540866"/>
              <a:ext cx="106456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7" name="Rectangle 143">
              <a:extLst>
                <a:ext uri="{FF2B5EF4-FFF2-40B4-BE49-F238E27FC236}">
                  <a16:creationId xmlns:a16="http://schemas.microsoft.com/office/drawing/2014/main" id="{1714DA4C-7FDB-4438-9785-C8E40158A59B}"/>
                </a:ext>
              </a:extLst>
            </p:cNvPr>
            <p:cNvSpPr/>
            <p:nvPr/>
          </p:nvSpPr>
          <p:spPr>
            <a:xfrm>
              <a:off x="14113822" y="540866"/>
              <a:ext cx="106456" cy="212913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8" name="Freeform 144">
              <a:extLst>
                <a:ext uri="{FF2B5EF4-FFF2-40B4-BE49-F238E27FC236}">
                  <a16:creationId xmlns:a16="http://schemas.microsoft.com/office/drawing/2014/main" id="{80616E2C-C7FD-4340-9C6E-D1B2B99E12D6}"/>
                </a:ext>
              </a:extLst>
            </p:cNvPr>
            <p:cNvSpPr/>
            <p:nvPr/>
          </p:nvSpPr>
          <p:spPr>
            <a:xfrm>
              <a:off x="14003931" y="3433"/>
              <a:ext cx="322803" cy="430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0"/>
                  </a:lnTo>
                  <a:lnTo>
                    <a:pt x="0" y="5335"/>
                  </a:lnTo>
                  <a:lnTo>
                    <a:pt x="7353" y="5335"/>
                  </a:lnTo>
                  <a:lnTo>
                    <a:pt x="7353" y="21600"/>
                  </a:lnTo>
                  <a:lnTo>
                    <a:pt x="14477" y="21600"/>
                  </a:lnTo>
                  <a:lnTo>
                    <a:pt x="14477" y="5335"/>
                  </a:lnTo>
                  <a:lnTo>
                    <a:pt x="21600" y="5335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59" name="Rectangle 145">
              <a:extLst>
                <a:ext uri="{FF2B5EF4-FFF2-40B4-BE49-F238E27FC236}">
                  <a16:creationId xmlns:a16="http://schemas.microsoft.com/office/drawing/2014/main" id="{937E7FF0-3315-401B-813C-5DE1B134B719}"/>
                </a:ext>
              </a:extLst>
            </p:cNvPr>
            <p:cNvSpPr/>
            <p:nvPr/>
          </p:nvSpPr>
          <p:spPr>
            <a:xfrm>
              <a:off x="14433190" y="3433"/>
              <a:ext cx="106456" cy="750346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0" name="Freeform 146">
              <a:extLst>
                <a:ext uri="{FF2B5EF4-FFF2-40B4-BE49-F238E27FC236}">
                  <a16:creationId xmlns:a16="http://schemas.microsoft.com/office/drawing/2014/main" id="{ECAECC9E-6A53-4096-9C4A-67229BA84821}"/>
                </a:ext>
              </a:extLst>
            </p:cNvPr>
            <p:cNvSpPr/>
            <p:nvPr/>
          </p:nvSpPr>
          <p:spPr>
            <a:xfrm>
              <a:off x="13148848" y="3433"/>
              <a:ext cx="319369" cy="430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916" y="10671"/>
                  </a:moveTo>
                  <a:lnTo>
                    <a:pt x="7200" y="10671"/>
                  </a:lnTo>
                  <a:lnTo>
                    <a:pt x="7200" y="5335"/>
                  </a:lnTo>
                  <a:lnTo>
                    <a:pt x="11613" y="5335"/>
                  </a:lnTo>
                  <a:lnTo>
                    <a:pt x="12310" y="5508"/>
                  </a:lnTo>
                  <a:lnTo>
                    <a:pt x="13471" y="6196"/>
                  </a:lnTo>
                  <a:lnTo>
                    <a:pt x="14168" y="7057"/>
                  </a:lnTo>
                  <a:lnTo>
                    <a:pt x="14400" y="7401"/>
                  </a:lnTo>
                  <a:lnTo>
                    <a:pt x="14400" y="8606"/>
                  </a:lnTo>
                  <a:lnTo>
                    <a:pt x="14168" y="9122"/>
                  </a:lnTo>
                  <a:lnTo>
                    <a:pt x="13471" y="9982"/>
                  </a:lnTo>
                  <a:lnTo>
                    <a:pt x="12310" y="10499"/>
                  </a:lnTo>
                  <a:lnTo>
                    <a:pt x="11613" y="10671"/>
                  </a:lnTo>
                  <a:lnTo>
                    <a:pt x="10916" y="10671"/>
                  </a:lnTo>
                  <a:close/>
                  <a:moveTo>
                    <a:pt x="10916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7200" y="21600"/>
                  </a:lnTo>
                  <a:lnTo>
                    <a:pt x="7200" y="16006"/>
                  </a:lnTo>
                  <a:lnTo>
                    <a:pt x="10916" y="16006"/>
                  </a:lnTo>
                  <a:lnTo>
                    <a:pt x="13006" y="15834"/>
                  </a:lnTo>
                  <a:lnTo>
                    <a:pt x="15097" y="15490"/>
                  </a:lnTo>
                  <a:lnTo>
                    <a:pt x="16955" y="14629"/>
                  </a:lnTo>
                  <a:lnTo>
                    <a:pt x="18581" y="13769"/>
                  </a:lnTo>
                  <a:lnTo>
                    <a:pt x="19974" y="12564"/>
                  </a:lnTo>
                  <a:lnTo>
                    <a:pt x="20903" y="11187"/>
                  </a:lnTo>
                  <a:lnTo>
                    <a:pt x="21600" y="9638"/>
                  </a:lnTo>
                  <a:lnTo>
                    <a:pt x="21600" y="6368"/>
                  </a:lnTo>
                  <a:lnTo>
                    <a:pt x="20903" y="4819"/>
                  </a:lnTo>
                  <a:lnTo>
                    <a:pt x="19974" y="3614"/>
                  </a:lnTo>
                  <a:lnTo>
                    <a:pt x="18581" y="2410"/>
                  </a:lnTo>
                  <a:lnTo>
                    <a:pt x="16955" y="1377"/>
                  </a:lnTo>
                  <a:lnTo>
                    <a:pt x="15097" y="688"/>
                  </a:lnTo>
                  <a:lnTo>
                    <a:pt x="13006" y="172"/>
                  </a:lnTo>
                  <a:lnTo>
                    <a:pt x="10916" y="0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  <p:sp>
          <p:nvSpPr>
            <p:cNvPr id="61" name="Freeform 149">
              <a:extLst>
                <a:ext uri="{FF2B5EF4-FFF2-40B4-BE49-F238E27FC236}">
                  <a16:creationId xmlns:a16="http://schemas.microsoft.com/office/drawing/2014/main" id="{1B50E89C-7811-46FF-BAD0-DD90EE07D64D}"/>
                </a:ext>
              </a:extLst>
            </p:cNvPr>
            <p:cNvSpPr/>
            <p:nvPr/>
          </p:nvSpPr>
          <p:spPr>
            <a:xfrm>
              <a:off x="13547201" y="0"/>
              <a:ext cx="367445" cy="4344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516" y="21600"/>
                  </a:moveTo>
                  <a:lnTo>
                    <a:pt x="10093" y="21429"/>
                  </a:lnTo>
                  <a:lnTo>
                    <a:pt x="7873" y="20746"/>
                  </a:lnTo>
                  <a:lnTo>
                    <a:pt x="6662" y="20405"/>
                  </a:lnTo>
                  <a:lnTo>
                    <a:pt x="5652" y="19892"/>
                  </a:lnTo>
                  <a:lnTo>
                    <a:pt x="4643" y="19124"/>
                  </a:lnTo>
                  <a:lnTo>
                    <a:pt x="2826" y="17587"/>
                  </a:lnTo>
                  <a:lnTo>
                    <a:pt x="2019" y="16734"/>
                  </a:lnTo>
                  <a:lnTo>
                    <a:pt x="1413" y="15880"/>
                  </a:lnTo>
                  <a:lnTo>
                    <a:pt x="807" y="14855"/>
                  </a:lnTo>
                  <a:lnTo>
                    <a:pt x="404" y="13831"/>
                  </a:lnTo>
                  <a:lnTo>
                    <a:pt x="0" y="11782"/>
                  </a:lnTo>
                  <a:lnTo>
                    <a:pt x="0" y="9733"/>
                  </a:lnTo>
                  <a:lnTo>
                    <a:pt x="404" y="7684"/>
                  </a:lnTo>
                  <a:lnTo>
                    <a:pt x="807" y="6659"/>
                  </a:lnTo>
                  <a:lnTo>
                    <a:pt x="1413" y="5635"/>
                  </a:lnTo>
                  <a:lnTo>
                    <a:pt x="2019" y="4781"/>
                  </a:lnTo>
                  <a:lnTo>
                    <a:pt x="2826" y="3927"/>
                  </a:lnTo>
                  <a:lnTo>
                    <a:pt x="4643" y="2391"/>
                  </a:lnTo>
                  <a:lnTo>
                    <a:pt x="5652" y="1878"/>
                  </a:lnTo>
                  <a:lnTo>
                    <a:pt x="6662" y="1195"/>
                  </a:lnTo>
                  <a:lnTo>
                    <a:pt x="7873" y="854"/>
                  </a:lnTo>
                  <a:lnTo>
                    <a:pt x="10093" y="171"/>
                  </a:lnTo>
                  <a:lnTo>
                    <a:pt x="12516" y="0"/>
                  </a:lnTo>
                  <a:lnTo>
                    <a:pt x="14938" y="171"/>
                  </a:lnTo>
                  <a:lnTo>
                    <a:pt x="18572" y="1195"/>
                  </a:lnTo>
                  <a:lnTo>
                    <a:pt x="19581" y="1878"/>
                  </a:lnTo>
                  <a:lnTo>
                    <a:pt x="20591" y="2391"/>
                  </a:lnTo>
                  <a:lnTo>
                    <a:pt x="21600" y="3244"/>
                  </a:lnTo>
                  <a:lnTo>
                    <a:pt x="17159" y="7001"/>
                  </a:lnTo>
                  <a:lnTo>
                    <a:pt x="16150" y="6318"/>
                  </a:lnTo>
                  <a:lnTo>
                    <a:pt x="14938" y="5806"/>
                  </a:lnTo>
                  <a:lnTo>
                    <a:pt x="13727" y="5464"/>
                  </a:lnTo>
                  <a:lnTo>
                    <a:pt x="12516" y="5293"/>
                  </a:lnTo>
                  <a:lnTo>
                    <a:pt x="11305" y="5464"/>
                  </a:lnTo>
                  <a:lnTo>
                    <a:pt x="10093" y="5806"/>
                  </a:lnTo>
                  <a:lnTo>
                    <a:pt x="9084" y="6318"/>
                  </a:lnTo>
                  <a:lnTo>
                    <a:pt x="8075" y="7001"/>
                  </a:lnTo>
                  <a:lnTo>
                    <a:pt x="7267" y="7855"/>
                  </a:lnTo>
                  <a:lnTo>
                    <a:pt x="6662" y="8708"/>
                  </a:lnTo>
                  <a:lnTo>
                    <a:pt x="6258" y="9733"/>
                  </a:lnTo>
                  <a:lnTo>
                    <a:pt x="6258" y="11782"/>
                  </a:lnTo>
                  <a:lnTo>
                    <a:pt x="6662" y="12806"/>
                  </a:lnTo>
                  <a:lnTo>
                    <a:pt x="7267" y="13831"/>
                  </a:lnTo>
                  <a:lnTo>
                    <a:pt x="8075" y="14514"/>
                  </a:lnTo>
                  <a:lnTo>
                    <a:pt x="9084" y="15197"/>
                  </a:lnTo>
                  <a:lnTo>
                    <a:pt x="10093" y="15709"/>
                  </a:lnTo>
                  <a:lnTo>
                    <a:pt x="11305" y="16051"/>
                  </a:lnTo>
                  <a:lnTo>
                    <a:pt x="12516" y="16221"/>
                  </a:lnTo>
                  <a:lnTo>
                    <a:pt x="13727" y="16051"/>
                  </a:lnTo>
                  <a:lnTo>
                    <a:pt x="14938" y="15709"/>
                  </a:lnTo>
                  <a:lnTo>
                    <a:pt x="16150" y="15197"/>
                  </a:lnTo>
                  <a:lnTo>
                    <a:pt x="17159" y="14514"/>
                  </a:lnTo>
                  <a:lnTo>
                    <a:pt x="21600" y="18270"/>
                  </a:lnTo>
                  <a:lnTo>
                    <a:pt x="20591" y="19124"/>
                  </a:lnTo>
                  <a:lnTo>
                    <a:pt x="19581" y="19892"/>
                  </a:lnTo>
                  <a:lnTo>
                    <a:pt x="18572" y="20405"/>
                  </a:lnTo>
                  <a:lnTo>
                    <a:pt x="14938" y="21429"/>
                  </a:lnTo>
                  <a:lnTo>
                    <a:pt x="12516" y="21600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latin typeface="Circe" panose="020F0502020204030204" pitchFamily="34" charset="-5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6295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5" r:id="rId12"/>
    <p:sldLayoutId id="2147483827" r:id="rId13"/>
    <p:sldLayoutId id="2147483838" r:id="rId14"/>
  </p:sldLayoutIdLst>
  <p:transition spd="slow">
    <p:push dir="u"/>
  </p:transition>
  <p:hf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rgbClr val="004E6B"/>
          </a:solidFill>
          <a:latin typeface="Circe Bold" panose="020B0602020203020203" pitchFamily="34" charset="-52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irce" panose="020F0502020204030204" pitchFamily="34" charset="-52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irce" panose="020F0502020204030204" pitchFamily="34" charset="-52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irce" panose="020F0502020204030204" pitchFamily="34" charset="-52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irce" panose="020F0502020204030204" pitchFamily="34" charset="-52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irce" panose="020F0502020204030204" pitchFamily="34" charset="-52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596864" y="6303553"/>
            <a:ext cx="145810" cy="130677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>
            <a:spAutoFit/>
          </a:bodyPr>
          <a:lstStyle>
            <a:lvl1pPr indent="7701" algn="r">
              <a:defRPr sz="849" spc="9">
                <a:latin typeface="Circe"/>
                <a:ea typeface="Circe"/>
                <a:cs typeface="Circe"/>
                <a:sym typeface="Circe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grpSp>
        <p:nvGrpSpPr>
          <p:cNvPr id="5" name="Группа 7"/>
          <p:cNvGrpSpPr/>
          <p:nvPr/>
        </p:nvGrpSpPr>
        <p:grpSpPr>
          <a:xfrm>
            <a:off x="641349" y="330362"/>
            <a:ext cx="95250" cy="1232506"/>
            <a:chOff x="0" y="0"/>
            <a:chExt cx="157063" cy="2031351"/>
          </a:xfrm>
        </p:grpSpPr>
        <p:sp>
          <p:nvSpPr>
            <p:cNvPr id="3" name="object 4"/>
            <p:cNvSpPr/>
            <p:nvPr/>
          </p:nvSpPr>
          <p:spPr>
            <a:xfrm>
              <a:off x="0" y="471189"/>
              <a:ext cx="157064" cy="1141326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" name="object 5"/>
            <p:cNvSpPr/>
            <p:nvPr/>
          </p:nvSpPr>
          <p:spPr>
            <a:xfrm flipV="1">
              <a:off x="157062" y="0"/>
              <a:ext cx="1" cy="2031352"/>
            </a:xfrm>
            <a:prstGeom prst="line">
              <a:avLst/>
            </a:prstGeom>
            <a:noFill/>
            <a:ln w="20941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</p:grpSp>
      <p:grpSp>
        <p:nvGrpSpPr>
          <p:cNvPr id="149" name="Группа 10"/>
          <p:cNvGrpSpPr/>
          <p:nvPr/>
        </p:nvGrpSpPr>
        <p:grpSpPr>
          <a:xfrm>
            <a:off x="1024868" y="6219538"/>
            <a:ext cx="10138621" cy="175857"/>
            <a:chOff x="0" y="0"/>
            <a:chExt cx="16718162" cy="289836"/>
          </a:xfrm>
        </p:grpSpPr>
        <p:sp>
          <p:nvSpPr>
            <p:cNvPr id="6" name="object 5"/>
            <p:cNvSpPr/>
            <p:nvPr/>
          </p:nvSpPr>
          <p:spPr>
            <a:xfrm>
              <a:off x="16222972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7" name="object 6"/>
            <p:cNvSpPr/>
            <p:nvPr/>
          </p:nvSpPr>
          <p:spPr>
            <a:xfrm>
              <a:off x="16346769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8" name="object 7"/>
            <p:cNvSpPr/>
            <p:nvPr/>
          </p:nvSpPr>
          <p:spPr>
            <a:xfrm>
              <a:off x="16470565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9" name="object 8"/>
            <p:cNvSpPr/>
            <p:nvPr/>
          </p:nvSpPr>
          <p:spPr>
            <a:xfrm>
              <a:off x="16594362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0" name="object 9"/>
            <p:cNvSpPr/>
            <p:nvPr/>
          </p:nvSpPr>
          <p:spPr>
            <a:xfrm>
              <a:off x="16718162" y="166008"/>
              <a:ext cx="1" cy="123829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1" name="object 10"/>
            <p:cNvSpPr/>
            <p:nvPr/>
          </p:nvSpPr>
          <p:spPr>
            <a:xfrm>
              <a:off x="14242203" y="166008"/>
              <a:ext cx="1" cy="123829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2" name="object 11"/>
            <p:cNvSpPr/>
            <p:nvPr/>
          </p:nvSpPr>
          <p:spPr>
            <a:xfrm>
              <a:off x="14366002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3" name="object 12"/>
            <p:cNvSpPr/>
            <p:nvPr/>
          </p:nvSpPr>
          <p:spPr>
            <a:xfrm>
              <a:off x="14489799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4" name="object 13"/>
            <p:cNvSpPr/>
            <p:nvPr/>
          </p:nvSpPr>
          <p:spPr>
            <a:xfrm>
              <a:off x="14613596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5" name="object 14"/>
            <p:cNvSpPr/>
            <p:nvPr/>
          </p:nvSpPr>
          <p:spPr>
            <a:xfrm>
              <a:off x="14737393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6" name="object 15"/>
            <p:cNvSpPr/>
            <p:nvPr/>
          </p:nvSpPr>
          <p:spPr>
            <a:xfrm>
              <a:off x="14861190" y="166008"/>
              <a:ext cx="1" cy="123829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7" name="object 16"/>
            <p:cNvSpPr/>
            <p:nvPr/>
          </p:nvSpPr>
          <p:spPr>
            <a:xfrm>
              <a:off x="13623219" y="166008"/>
              <a:ext cx="1" cy="123829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8" name="object 17"/>
            <p:cNvSpPr/>
            <p:nvPr/>
          </p:nvSpPr>
          <p:spPr>
            <a:xfrm>
              <a:off x="13747015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9" name="object 18"/>
            <p:cNvSpPr/>
            <p:nvPr/>
          </p:nvSpPr>
          <p:spPr>
            <a:xfrm>
              <a:off x="13870812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20" name="object 19"/>
            <p:cNvSpPr/>
            <p:nvPr/>
          </p:nvSpPr>
          <p:spPr>
            <a:xfrm>
              <a:off x="13994609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21" name="object 20"/>
            <p:cNvSpPr/>
            <p:nvPr/>
          </p:nvSpPr>
          <p:spPr>
            <a:xfrm>
              <a:off x="14118406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22" name="object 21"/>
            <p:cNvSpPr/>
            <p:nvPr/>
          </p:nvSpPr>
          <p:spPr>
            <a:xfrm>
              <a:off x="13004222" y="166008"/>
              <a:ext cx="1" cy="123829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23" name="object 22"/>
            <p:cNvSpPr/>
            <p:nvPr/>
          </p:nvSpPr>
          <p:spPr>
            <a:xfrm>
              <a:off x="13128028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24" name="object 23"/>
            <p:cNvSpPr/>
            <p:nvPr/>
          </p:nvSpPr>
          <p:spPr>
            <a:xfrm>
              <a:off x="13251827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25" name="object 24"/>
            <p:cNvSpPr/>
            <p:nvPr/>
          </p:nvSpPr>
          <p:spPr>
            <a:xfrm>
              <a:off x="13375614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26" name="object 25"/>
            <p:cNvSpPr/>
            <p:nvPr/>
          </p:nvSpPr>
          <p:spPr>
            <a:xfrm>
              <a:off x="13499422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27" name="object 26"/>
            <p:cNvSpPr/>
            <p:nvPr/>
          </p:nvSpPr>
          <p:spPr>
            <a:xfrm>
              <a:off x="12385235" y="166008"/>
              <a:ext cx="1" cy="123829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28" name="object 27"/>
            <p:cNvSpPr/>
            <p:nvPr/>
          </p:nvSpPr>
          <p:spPr>
            <a:xfrm>
              <a:off x="12509032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29" name="object 28"/>
            <p:cNvSpPr/>
            <p:nvPr/>
          </p:nvSpPr>
          <p:spPr>
            <a:xfrm>
              <a:off x="12632829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30" name="object 29"/>
            <p:cNvSpPr/>
            <p:nvPr/>
          </p:nvSpPr>
          <p:spPr>
            <a:xfrm>
              <a:off x="12756627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31" name="object 30"/>
            <p:cNvSpPr/>
            <p:nvPr/>
          </p:nvSpPr>
          <p:spPr>
            <a:xfrm>
              <a:off x="12880424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32" name="object 31"/>
            <p:cNvSpPr/>
            <p:nvPr/>
          </p:nvSpPr>
          <p:spPr>
            <a:xfrm>
              <a:off x="11766248" y="166008"/>
              <a:ext cx="1" cy="123829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33" name="object 32"/>
            <p:cNvSpPr/>
            <p:nvPr/>
          </p:nvSpPr>
          <p:spPr>
            <a:xfrm>
              <a:off x="11890045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34" name="object 33"/>
            <p:cNvSpPr/>
            <p:nvPr/>
          </p:nvSpPr>
          <p:spPr>
            <a:xfrm>
              <a:off x="12013844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35" name="object 34"/>
            <p:cNvSpPr/>
            <p:nvPr/>
          </p:nvSpPr>
          <p:spPr>
            <a:xfrm>
              <a:off x="12137640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36" name="object 35"/>
            <p:cNvSpPr/>
            <p:nvPr/>
          </p:nvSpPr>
          <p:spPr>
            <a:xfrm>
              <a:off x="12261437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37" name="object 36"/>
            <p:cNvSpPr/>
            <p:nvPr/>
          </p:nvSpPr>
          <p:spPr>
            <a:xfrm>
              <a:off x="11147262" y="166008"/>
              <a:ext cx="1" cy="123829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38" name="object 37"/>
            <p:cNvSpPr/>
            <p:nvPr/>
          </p:nvSpPr>
          <p:spPr>
            <a:xfrm>
              <a:off x="11271060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39" name="object 38"/>
            <p:cNvSpPr/>
            <p:nvPr/>
          </p:nvSpPr>
          <p:spPr>
            <a:xfrm>
              <a:off x="11394857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0" name="object 39"/>
            <p:cNvSpPr/>
            <p:nvPr/>
          </p:nvSpPr>
          <p:spPr>
            <a:xfrm>
              <a:off x="11518653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1" name="object 40"/>
            <p:cNvSpPr/>
            <p:nvPr/>
          </p:nvSpPr>
          <p:spPr>
            <a:xfrm>
              <a:off x="11642450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2" name="object 41"/>
            <p:cNvSpPr/>
            <p:nvPr/>
          </p:nvSpPr>
          <p:spPr>
            <a:xfrm>
              <a:off x="10528275" y="166008"/>
              <a:ext cx="1" cy="123829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3" name="object 42"/>
            <p:cNvSpPr/>
            <p:nvPr/>
          </p:nvSpPr>
          <p:spPr>
            <a:xfrm>
              <a:off x="10652063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4" name="object 43"/>
            <p:cNvSpPr/>
            <p:nvPr/>
          </p:nvSpPr>
          <p:spPr>
            <a:xfrm>
              <a:off x="10775860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5" name="object 44"/>
            <p:cNvSpPr/>
            <p:nvPr/>
          </p:nvSpPr>
          <p:spPr>
            <a:xfrm>
              <a:off x="10899668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6" name="object 45"/>
            <p:cNvSpPr/>
            <p:nvPr/>
          </p:nvSpPr>
          <p:spPr>
            <a:xfrm>
              <a:off x="11023465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7" name="object 46"/>
            <p:cNvSpPr/>
            <p:nvPr/>
          </p:nvSpPr>
          <p:spPr>
            <a:xfrm>
              <a:off x="9909278" y="166008"/>
              <a:ext cx="1" cy="123829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8" name="object 47"/>
            <p:cNvSpPr/>
            <p:nvPr/>
          </p:nvSpPr>
          <p:spPr>
            <a:xfrm>
              <a:off x="10033077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49" name="object 48"/>
            <p:cNvSpPr/>
            <p:nvPr/>
          </p:nvSpPr>
          <p:spPr>
            <a:xfrm>
              <a:off x="10156874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50" name="object 49"/>
            <p:cNvSpPr/>
            <p:nvPr/>
          </p:nvSpPr>
          <p:spPr>
            <a:xfrm>
              <a:off x="10280671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51" name="object 50"/>
            <p:cNvSpPr/>
            <p:nvPr/>
          </p:nvSpPr>
          <p:spPr>
            <a:xfrm>
              <a:off x="10404469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52" name="object 51"/>
            <p:cNvSpPr/>
            <p:nvPr/>
          </p:nvSpPr>
          <p:spPr>
            <a:xfrm>
              <a:off x="9290291" y="166008"/>
              <a:ext cx="1" cy="123829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53" name="object 52"/>
            <p:cNvSpPr/>
            <p:nvPr/>
          </p:nvSpPr>
          <p:spPr>
            <a:xfrm>
              <a:off x="9414090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54" name="object 53"/>
            <p:cNvSpPr/>
            <p:nvPr/>
          </p:nvSpPr>
          <p:spPr>
            <a:xfrm>
              <a:off x="9537887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55" name="object 54"/>
            <p:cNvSpPr/>
            <p:nvPr/>
          </p:nvSpPr>
          <p:spPr>
            <a:xfrm>
              <a:off x="9661684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56" name="object 55"/>
            <p:cNvSpPr/>
            <p:nvPr/>
          </p:nvSpPr>
          <p:spPr>
            <a:xfrm>
              <a:off x="9785482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57" name="object 56"/>
            <p:cNvSpPr/>
            <p:nvPr/>
          </p:nvSpPr>
          <p:spPr>
            <a:xfrm>
              <a:off x="8671306" y="166008"/>
              <a:ext cx="1" cy="123829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58" name="object 57"/>
            <p:cNvSpPr/>
            <p:nvPr/>
          </p:nvSpPr>
          <p:spPr>
            <a:xfrm>
              <a:off x="8795103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59" name="object 58"/>
            <p:cNvSpPr/>
            <p:nvPr/>
          </p:nvSpPr>
          <p:spPr>
            <a:xfrm>
              <a:off x="8918900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0" name="object 59"/>
            <p:cNvSpPr/>
            <p:nvPr/>
          </p:nvSpPr>
          <p:spPr>
            <a:xfrm>
              <a:off x="9042697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1" name="object 60"/>
            <p:cNvSpPr/>
            <p:nvPr/>
          </p:nvSpPr>
          <p:spPr>
            <a:xfrm>
              <a:off x="9166495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2" name="object 61"/>
            <p:cNvSpPr/>
            <p:nvPr/>
          </p:nvSpPr>
          <p:spPr>
            <a:xfrm>
              <a:off x="8052309" y="166008"/>
              <a:ext cx="1" cy="123829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3" name="object 62"/>
            <p:cNvSpPr/>
            <p:nvPr/>
          </p:nvSpPr>
          <p:spPr>
            <a:xfrm>
              <a:off x="8176107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4" name="object 63"/>
            <p:cNvSpPr/>
            <p:nvPr/>
          </p:nvSpPr>
          <p:spPr>
            <a:xfrm>
              <a:off x="8299903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5" name="object 64"/>
            <p:cNvSpPr/>
            <p:nvPr/>
          </p:nvSpPr>
          <p:spPr>
            <a:xfrm>
              <a:off x="8423700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6" name="object 65"/>
            <p:cNvSpPr/>
            <p:nvPr/>
          </p:nvSpPr>
          <p:spPr>
            <a:xfrm>
              <a:off x="8547508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7" name="object 66"/>
            <p:cNvSpPr/>
            <p:nvPr/>
          </p:nvSpPr>
          <p:spPr>
            <a:xfrm>
              <a:off x="7433322" y="166008"/>
              <a:ext cx="1" cy="123829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8" name="object 67"/>
            <p:cNvSpPr/>
            <p:nvPr/>
          </p:nvSpPr>
          <p:spPr>
            <a:xfrm>
              <a:off x="7557121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69" name="object 68"/>
            <p:cNvSpPr/>
            <p:nvPr/>
          </p:nvSpPr>
          <p:spPr>
            <a:xfrm>
              <a:off x="7680918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70" name="object 69"/>
            <p:cNvSpPr/>
            <p:nvPr/>
          </p:nvSpPr>
          <p:spPr>
            <a:xfrm>
              <a:off x="7804715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71" name="object 70"/>
            <p:cNvSpPr/>
            <p:nvPr/>
          </p:nvSpPr>
          <p:spPr>
            <a:xfrm>
              <a:off x="7928512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72" name="object 71"/>
            <p:cNvSpPr/>
            <p:nvPr/>
          </p:nvSpPr>
          <p:spPr>
            <a:xfrm>
              <a:off x="6814336" y="166008"/>
              <a:ext cx="1" cy="123829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73" name="object 72"/>
            <p:cNvSpPr/>
            <p:nvPr/>
          </p:nvSpPr>
          <p:spPr>
            <a:xfrm>
              <a:off x="6938134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74" name="object 73"/>
            <p:cNvSpPr/>
            <p:nvPr/>
          </p:nvSpPr>
          <p:spPr>
            <a:xfrm>
              <a:off x="7061932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75" name="object 74"/>
            <p:cNvSpPr/>
            <p:nvPr/>
          </p:nvSpPr>
          <p:spPr>
            <a:xfrm>
              <a:off x="7185729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76" name="object 75"/>
            <p:cNvSpPr/>
            <p:nvPr/>
          </p:nvSpPr>
          <p:spPr>
            <a:xfrm>
              <a:off x="7309526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77" name="object 76"/>
            <p:cNvSpPr/>
            <p:nvPr/>
          </p:nvSpPr>
          <p:spPr>
            <a:xfrm>
              <a:off x="6195350" y="166008"/>
              <a:ext cx="1" cy="123829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78" name="object 77"/>
            <p:cNvSpPr/>
            <p:nvPr/>
          </p:nvSpPr>
          <p:spPr>
            <a:xfrm>
              <a:off x="6319147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79" name="object 78"/>
            <p:cNvSpPr/>
            <p:nvPr/>
          </p:nvSpPr>
          <p:spPr>
            <a:xfrm>
              <a:off x="6442945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80" name="object 79"/>
            <p:cNvSpPr/>
            <p:nvPr/>
          </p:nvSpPr>
          <p:spPr>
            <a:xfrm>
              <a:off x="6566742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81" name="object 80"/>
            <p:cNvSpPr/>
            <p:nvPr/>
          </p:nvSpPr>
          <p:spPr>
            <a:xfrm>
              <a:off x="6690539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82" name="object 81"/>
            <p:cNvSpPr/>
            <p:nvPr/>
          </p:nvSpPr>
          <p:spPr>
            <a:xfrm>
              <a:off x="5576352" y="166008"/>
              <a:ext cx="1" cy="123829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83" name="object 82"/>
            <p:cNvSpPr/>
            <p:nvPr/>
          </p:nvSpPr>
          <p:spPr>
            <a:xfrm>
              <a:off x="3095779" y="166008"/>
              <a:ext cx="1" cy="123829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84" name="object 83"/>
            <p:cNvSpPr/>
            <p:nvPr/>
          </p:nvSpPr>
          <p:spPr>
            <a:xfrm>
              <a:off x="5700151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85" name="object 84"/>
            <p:cNvSpPr/>
            <p:nvPr/>
          </p:nvSpPr>
          <p:spPr>
            <a:xfrm>
              <a:off x="5823947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86" name="object 85"/>
            <p:cNvSpPr/>
            <p:nvPr/>
          </p:nvSpPr>
          <p:spPr>
            <a:xfrm>
              <a:off x="5947756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87" name="object 86"/>
            <p:cNvSpPr/>
            <p:nvPr/>
          </p:nvSpPr>
          <p:spPr>
            <a:xfrm>
              <a:off x="6071552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88" name="object 87"/>
            <p:cNvSpPr/>
            <p:nvPr/>
          </p:nvSpPr>
          <p:spPr>
            <a:xfrm>
              <a:off x="4957367" y="166008"/>
              <a:ext cx="1" cy="123829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89" name="object 88"/>
            <p:cNvSpPr/>
            <p:nvPr/>
          </p:nvSpPr>
          <p:spPr>
            <a:xfrm>
              <a:off x="2476783" y="166008"/>
              <a:ext cx="1" cy="123829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90" name="object 89"/>
            <p:cNvSpPr/>
            <p:nvPr/>
          </p:nvSpPr>
          <p:spPr>
            <a:xfrm>
              <a:off x="618986" y="166008"/>
              <a:ext cx="1" cy="123829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91" name="object 90"/>
            <p:cNvSpPr/>
            <p:nvPr/>
          </p:nvSpPr>
          <p:spPr>
            <a:xfrm>
              <a:off x="5081164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92" name="object 91"/>
            <p:cNvSpPr/>
            <p:nvPr/>
          </p:nvSpPr>
          <p:spPr>
            <a:xfrm>
              <a:off x="2600580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93" name="object 92"/>
            <p:cNvSpPr/>
            <p:nvPr/>
          </p:nvSpPr>
          <p:spPr>
            <a:xfrm>
              <a:off x="5204962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94" name="object 93"/>
            <p:cNvSpPr/>
            <p:nvPr/>
          </p:nvSpPr>
          <p:spPr>
            <a:xfrm>
              <a:off x="2724388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95" name="object 94"/>
            <p:cNvSpPr/>
            <p:nvPr/>
          </p:nvSpPr>
          <p:spPr>
            <a:xfrm>
              <a:off x="5328759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96" name="object 95"/>
            <p:cNvSpPr/>
            <p:nvPr/>
          </p:nvSpPr>
          <p:spPr>
            <a:xfrm>
              <a:off x="2848184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97" name="object 96"/>
            <p:cNvSpPr/>
            <p:nvPr/>
          </p:nvSpPr>
          <p:spPr>
            <a:xfrm>
              <a:off x="5452556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98" name="object 97"/>
            <p:cNvSpPr/>
            <p:nvPr/>
          </p:nvSpPr>
          <p:spPr>
            <a:xfrm>
              <a:off x="2971983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99" name="object 98"/>
            <p:cNvSpPr/>
            <p:nvPr/>
          </p:nvSpPr>
          <p:spPr>
            <a:xfrm>
              <a:off x="4338381" y="166008"/>
              <a:ext cx="1" cy="123829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00" name="object 99"/>
            <p:cNvSpPr/>
            <p:nvPr/>
          </p:nvSpPr>
          <p:spPr>
            <a:xfrm>
              <a:off x="1857796" y="166008"/>
              <a:ext cx="1" cy="123829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01" name="object 100"/>
            <p:cNvSpPr/>
            <p:nvPr/>
          </p:nvSpPr>
          <p:spPr>
            <a:xfrm flipH="1">
              <a:off x="-1" y="166008"/>
              <a:ext cx="2" cy="123829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02" name="object 101"/>
            <p:cNvSpPr/>
            <p:nvPr/>
          </p:nvSpPr>
          <p:spPr>
            <a:xfrm>
              <a:off x="4462177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03" name="object 102"/>
            <p:cNvSpPr/>
            <p:nvPr/>
          </p:nvSpPr>
          <p:spPr>
            <a:xfrm>
              <a:off x="1981594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04" name="object 103"/>
            <p:cNvSpPr/>
            <p:nvPr/>
          </p:nvSpPr>
          <p:spPr>
            <a:xfrm flipH="1">
              <a:off x="123797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05" name="object 104"/>
            <p:cNvSpPr/>
            <p:nvPr/>
          </p:nvSpPr>
          <p:spPr>
            <a:xfrm>
              <a:off x="4585975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06" name="object 105"/>
            <p:cNvSpPr/>
            <p:nvPr/>
          </p:nvSpPr>
          <p:spPr>
            <a:xfrm>
              <a:off x="2105390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07" name="object 106"/>
            <p:cNvSpPr/>
            <p:nvPr/>
          </p:nvSpPr>
          <p:spPr>
            <a:xfrm>
              <a:off x="247593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08" name="object 107"/>
            <p:cNvSpPr/>
            <p:nvPr/>
          </p:nvSpPr>
          <p:spPr>
            <a:xfrm>
              <a:off x="4709772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09" name="object 108"/>
            <p:cNvSpPr/>
            <p:nvPr/>
          </p:nvSpPr>
          <p:spPr>
            <a:xfrm>
              <a:off x="2229189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10" name="object 109"/>
            <p:cNvSpPr/>
            <p:nvPr/>
          </p:nvSpPr>
          <p:spPr>
            <a:xfrm>
              <a:off x="371392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11" name="object 110"/>
            <p:cNvSpPr/>
            <p:nvPr/>
          </p:nvSpPr>
          <p:spPr>
            <a:xfrm>
              <a:off x="4833569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12" name="object 111"/>
            <p:cNvSpPr/>
            <p:nvPr/>
          </p:nvSpPr>
          <p:spPr>
            <a:xfrm>
              <a:off x="2352986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13" name="object 112"/>
            <p:cNvSpPr/>
            <p:nvPr/>
          </p:nvSpPr>
          <p:spPr>
            <a:xfrm>
              <a:off x="495189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14" name="object 113"/>
            <p:cNvSpPr/>
            <p:nvPr/>
          </p:nvSpPr>
          <p:spPr>
            <a:xfrm>
              <a:off x="3719394" y="166008"/>
              <a:ext cx="1" cy="123829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15" name="object 114"/>
            <p:cNvSpPr/>
            <p:nvPr/>
          </p:nvSpPr>
          <p:spPr>
            <a:xfrm>
              <a:off x="1238809" y="166008"/>
              <a:ext cx="1" cy="123829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16" name="object 115"/>
            <p:cNvSpPr/>
            <p:nvPr/>
          </p:nvSpPr>
          <p:spPr>
            <a:xfrm>
              <a:off x="3843192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17" name="object 116"/>
            <p:cNvSpPr/>
            <p:nvPr/>
          </p:nvSpPr>
          <p:spPr>
            <a:xfrm>
              <a:off x="1362608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18" name="object 117"/>
            <p:cNvSpPr/>
            <p:nvPr/>
          </p:nvSpPr>
          <p:spPr>
            <a:xfrm>
              <a:off x="3966989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19" name="object 118"/>
            <p:cNvSpPr/>
            <p:nvPr/>
          </p:nvSpPr>
          <p:spPr>
            <a:xfrm>
              <a:off x="1486405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20" name="object 119"/>
            <p:cNvSpPr/>
            <p:nvPr/>
          </p:nvSpPr>
          <p:spPr>
            <a:xfrm>
              <a:off x="4090786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21" name="object 120"/>
            <p:cNvSpPr/>
            <p:nvPr/>
          </p:nvSpPr>
          <p:spPr>
            <a:xfrm>
              <a:off x="1610202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22" name="object 121"/>
            <p:cNvSpPr/>
            <p:nvPr/>
          </p:nvSpPr>
          <p:spPr>
            <a:xfrm>
              <a:off x="4214584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23" name="object 122"/>
            <p:cNvSpPr/>
            <p:nvPr/>
          </p:nvSpPr>
          <p:spPr>
            <a:xfrm>
              <a:off x="1733999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24" name="object 123"/>
            <p:cNvSpPr/>
            <p:nvPr/>
          </p:nvSpPr>
          <p:spPr>
            <a:xfrm>
              <a:off x="3224194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25" name="object 124"/>
            <p:cNvSpPr/>
            <p:nvPr/>
          </p:nvSpPr>
          <p:spPr>
            <a:xfrm>
              <a:off x="743621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26" name="object 125"/>
            <p:cNvSpPr/>
            <p:nvPr/>
          </p:nvSpPr>
          <p:spPr>
            <a:xfrm>
              <a:off x="3347992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27" name="object 126"/>
            <p:cNvSpPr/>
            <p:nvPr/>
          </p:nvSpPr>
          <p:spPr>
            <a:xfrm>
              <a:off x="867417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28" name="object 127"/>
            <p:cNvSpPr/>
            <p:nvPr/>
          </p:nvSpPr>
          <p:spPr>
            <a:xfrm>
              <a:off x="3471800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29" name="object 128"/>
            <p:cNvSpPr/>
            <p:nvPr/>
          </p:nvSpPr>
          <p:spPr>
            <a:xfrm>
              <a:off x="991216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30" name="object 129"/>
            <p:cNvSpPr/>
            <p:nvPr/>
          </p:nvSpPr>
          <p:spPr>
            <a:xfrm>
              <a:off x="3595587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31" name="object 130"/>
            <p:cNvSpPr/>
            <p:nvPr/>
          </p:nvSpPr>
          <p:spPr>
            <a:xfrm>
              <a:off x="1115013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32" name="object 131"/>
            <p:cNvSpPr/>
            <p:nvPr/>
          </p:nvSpPr>
          <p:spPr>
            <a:xfrm>
              <a:off x="14984987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33" name="object 132"/>
            <p:cNvSpPr/>
            <p:nvPr/>
          </p:nvSpPr>
          <p:spPr>
            <a:xfrm>
              <a:off x="15108785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34" name="object 133"/>
            <p:cNvSpPr/>
            <p:nvPr/>
          </p:nvSpPr>
          <p:spPr>
            <a:xfrm>
              <a:off x="15232582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35" name="object 134"/>
            <p:cNvSpPr/>
            <p:nvPr/>
          </p:nvSpPr>
          <p:spPr>
            <a:xfrm>
              <a:off x="15356380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36" name="object 135"/>
            <p:cNvSpPr/>
            <p:nvPr/>
          </p:nvSpPr>
          <p:spPr>
            <a:xfrm>
              <a:off x="15480186" y="946"/>
              <a:ext cx="1" cy="288891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37" name="object 136"/>
            <p:cNvSpPr/>
            <p:nvPr/>
          </p:nvSpPr>
          <p:spPr>
            <a:xfrm>
              <a:off x="15603985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38" name="object 137"/>
            <p:cNvSpPr/>
            <p:nvPr/>
          </p:nvSpPr>
          <p:spPr>
            <a:xfrm>
              <a:off x="15727782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39" name="object 138"/>
            <p:cNvSpPr/>
            <p:nvPr/>
          </p:nvSpPr>
          <p:spPr>
            <a:xfrm>
              <a:off x="15851580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40" name="object 139"/>
            <p:cNvSpPr/>
            <p:nvPr/>
          </p:nvSpPr>
          <p:spPr>
            <a:xfrm>
              <a:off x="15975377" y="207273"/>
              <a:ext cx="1" cy="825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41" name="object 140"/>
            <p:cNvSpPr/>
            <p:nvPr/>
          </p:nvSpPr>
          <p:spPr>
            <a:xfrm>
              <a:off x="15603985" y="934"/>
              <a:ext cx="1" cy="1650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42" name="object 141"/>
            <p:cNvSpPr/>
            <p:nvPr/>
          </p:nvSpPr>
          <p:spPr>
            <a:xfrm>
              <a:off x="15975376" y="934"/>
              <a:ext cx="1" cy="165064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43" name="object 142"/>
            <p:cNvSpPr/>
            <p:nvPr/>
          </p:nvSpPr>
          <p:spPr>
            <a:xfrm>
              <a:off x="15913468" y="21567"/>
              <a:ext cx="123798" cy="1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44" name="object 143"/>
            <p:cNvSpPr/>
            <p:nvPr/>
          </p:nvSpPr>
          <p:spPr>
            <a:xfrm>
              <a:off x="16099173" y="946"/>
              <a:ext cx="1" cy="288891"/>
            </a:xfrm>
            <a:prstGeom prst="line">
              <a:avLst/>
            </a:prstGeom>
            <a:noFill/>
            <a:ln w="4253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sp>
          <p:nvSpPr>
            <p:cNvPr id="145" name="object 144"/>
            <p:cNvSpPr/>
            <p:nvPr/>
          </p:nvSpPr>
          <p:spPr>
            <a:xfrm>
              <a:off x="15603983" y="893"/>
              <a:ext cx="101840" cy="1235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772" y="0"/>
                  </a:moveTo>
                  <a:lnTo>
                    <a:pt x="0" y="0"/>
                  </a:lnTo>
                  <a:lnTo>
                    <a:pt x="0" y="7211"/>
                  </a:lnTo>
                  <a:lnTo>
                    <a:pt x="10245" y="7430"/>
                  </a:lnTo>
                  <a:lnTo>
                    <a:pt x="12296" y="8879"/>
                  </a:lnTo>
                  <a:lnTo>
                    <a:pt x="13039" y="11524"/>
                  </a:lnTo>
                  <a:lnTo>
                    <a:pt x="11540" y="13568"/>
                  </a:lnTo>
                  <a:lnTo>
                    <a:pt x="8772" y="14388"/>
                  </a:lnTo>
                  <a:lnTo>
                    <a:pt x="0" y="14388"/>
                  </a:lnTo>
                  <a:lnTo>
                    <a:pt x="0" y="21600"/>
                  </a:lnTo>
                  <a:lnTo>
                    <a:pt x="8772" y="21600"/>
                  </a:lnTo>
                  <a:lnTo>
                    <a:pt x="10684" y="21484"/>
                  </a:lnTo>
                  <a:lnTo>
                    <a:pt x="19401" y="16535"/>
                  </a:lnTo>
                  <a:lnTo>
                    <a:pt x="21600" y="8573"/>
                  </a:lnTo>
                  <a:lnTo>
                    <a:pt x="20654" y="6240"/>
                  </a:lnTo>
                  <a:lnTo>
                    <a:pt x="19119" y="4177"/>
                  </a:lnTo>
                  <a:lnTo>
                    <a:pt x="17081" y="2452"/>
                  </a:lnTo>
                  <a:lnTo>
                    <a:pt x="14621" y="1136"/>
                  </a:lnTo>
                  <a:lnTo>
                    <a:pt x="11824" y="295"/>
                  </a:lnTo>
                  <a:lnTo>
                    <a:pt x="8772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092"/>
            </a:p>
          </p:txBody>
        </p:sp>
        <p:grpSp>
          <p:nvGrpSpPr>
            <p:cNvPr id="148" name="object 145"/>
            <p:cNvGrpSpPr/>
            <p:nvPr/>
          </p:nvGrpSpPr>
          <p:grpSpPr>
            <a:xfrm>
              <a:off x="15736307" y="0"/>
              <a:ext cx="141964" cy="166327"/>
              <a:chOff x="0" y="0"/>
              <a:chExt cx="141963" cy="166326"/>
            </a:xfrm>
          </p:grpSpPr>
          <p:sp>
            <p:nvSpPr>
              <p:cNvPr id="146" name="Фигура"/>
              <p:cNvSpPr/>
              <p:nvPr/>
            </p:nvSpPr>
            <p:spPr>
              <a:xfrm>
                <a:off x="0" y="0"/>
                <a:ext cx="141964" cy="16632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563" y="0"/>
                    </a:moveTo>
                    <a:lnTo>
                      <a:pt x="6872" y="1191"/>
                    </a:lnTo>
                    <a:lnTo>
                      <a:pt x="2371" y="4501"/>
                    </a:lnTo>
                    <a:lnTo>
                      <a:pt x="154" y="9126"/>
                    </a:lnTo>
                    <a:lnTo>
                      <a:pt x="0" y="10839"/>
                    </a:lnTo>
                    <a:lnTo>
                      <a:pt x="162" y="12537"/>
                    </a:lnTo>
                    <a:lnTo>
                      <a:pt x="2417" y="17150"/>
                    </a:lnTo>
                    <a:lnTo>
                      <a:pt x="6927" y="20437"/>
                    </a:lnTo>
                    <a:lnTo>
                      <a:pt x="12653" y="21600"/>
                    </a:lnTo>
                    <a:lnTo>
                      <a:pt x="12677" y="21600"/>
                    </a:lnTo>
                    <a:lnTo>
                      <a:pt x="18400" y="20428"/>
                    </a:lnTo>
                    <a:lnTo>
                      <a:pt x="21600" y="18436"/>
                    </a:lnTo>
                    <a:lnTo>
                      <a:pt x="18790" y="16154"/>
                    </a:lnTo>
                    <a:lnTo>
                      <a:pt x="11514" y="16154"/>
                    </a:lnTo>
                    <a:lnTo>
                      <a:pt x="9682" y="15609"/>
                    </a:lnTo>
                    <a:lnTo>
                      <a:pt x="8056" y="14571"/>
                    </a:lnTo>
                    <a:lnTo>
                      <a:pt x="7089" y="13415"/>
                    </a:lnTo>
                    <a:lnTo>
                      <a:pt x="6514" y="11891"/>
                    </a:lnTo>
                    <a:lnTo>
                      <a:pt x="6374" y="9858"/>
                    </a:lnTo>
                    <a:lnTo>
                      <a:pt x="7003" y="8285"/>
                    </a:lnTo>
                    <a:lnTo>
                      <a:pt x="8201" y="6906"/>
                    </a:lnTo>
                    <a:lnTo>
                      <a:pt x="9556" y="6064"/>
                    </a:lnTo>
                    <a:lnTo>
                      <a:pt x="11336" y="5560"/>
                    </a:lnTo>
                    <a:lnTo>
                      <a:pt x="13699" y="5431"/>
                    </a:lnTo>
                    <a:lnTo>
                      <a:pt x="18881" y="5431"/>
                    </a:lnTo>
                    <a:lnTo>
                      <a:pt x="21522" y="3098"/>
                    </a:lnTo>
                    <a:lnTo>
                      <a:pt x="20005" y="2008"/>
                    </a:lnTo>
                    <a:lnTo>
                      <a:pt x="18328" y="1144"/>
                    </a:lnTo>
                    <a:lnTo>
                      <a:pt x="16513" y="515"/>
                    </a:lnTo>
                    <a:lnTo>
                      <a:pt x="14584" y="130"/>
                    </a:lnTo>
                    <a:lnTo>
                      <a:pt x="12563" y="0"/>
                    </a:lnTo>
                    <a:close/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  <p:sp>
            <p:nvSpPr>
              <p:cNvPr id="147" name="Фигура"/>
              <p:cNvSpPr/>
              <p:nvPr/>
            </p:nvSpPr>
            <p:spPr>
              <a:xfrm>
                <a:off x="75673" y="41819"/>
                <a:ext cx="48423" cy="8257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227" y="18752"/>
                    </a:moveTo>
                    <a:lnTo>
                      <a:pt x="12264" y="20395"/>
                    </a:lnTo>
                    <a:lnTo>
                      <a:pt x="7022" y="21371"/>
                    </a:lnTo>
                    <a:lnTo>
                      <a:pt x="0" y="21600"/>
                    </a:lnTo>
                    <a:lnTo>
                      <a:pt x="21333" y="21600"/>
                    </a:lnTo>
                    <a:lnTo>
                      <a:pt x="16227" y="18752"/>
                    </a:lnTo>
                    <a:close/>
                    <a:moveTo>
                      <a:pt x="21600" y="0"/>
                    </a:moveTo>
                    <a:lnTo>
                      <a:pt x="6406" y="0"/>
                    </a:lnTo>
                    <a:lnTo>
                      <a:pt x="11867" y="1055"/>
                    </a:lnTo>
                    <a:lnTo>
                      <a:pt x="16553" y="3064"/>
                    </a:lnTo>
                    <a:lnTo>
                      <a:pt x="21600" y="0"/>
                    </a:lnTo>
                    <a:close/>
                  </a:path>
                </a:pathLst>
              </a:custGeom>
              <a:no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092"/>
              </a:p>
            </p:txBody>
          </p:sp>
        </p:grpSp>
      </p:grpSp>
      <p:sp>
        <p:nvSpPr>
          <p:cNvPr id="15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982898" y="775387"/>
            <a:ext cx="10226204" cy="36881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151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5257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3248677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1" r:id="rId2"/>
    <p:sldLayoutId id="2147483833" r:id="rId3"/>
    <p:sldLayoutId id="2147483834" r:id="rId4"/>
    <p:sldLayoutId id="2147483835" r:id="rId5"/>
    <p:sldLayoutId id="2147483837" r:id="rId6"/>
    <p:sldLayoutId id="2147483839" r:id="rId7"/>
  </p:sldLayoutIdLst>
  <p:transition spd="med"/>
  <p:hf hdr="0" ftr="0" dt="0"/>
  <p:txStyles>
    <p:titleStyle>
      <a:lvl1pPr marL="0" marR="0" indent="0" algn="l" defTabSz="55449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65" b="1" i="0" u="none" strike="noStrike" cap="none" spc="0" baseline="0">
          <a:ln>
            <a:noFill/>
          </a:ln>
          <a:solidFill>
            <a:srgbClr val="000000"/>
          </a:solidFill>
          <a:uFillTx/>
          <a:latin typeface="Circe"/>
          <a:ea typeface="Circe"/>
          <a:cs typeface="Circe"/>
          <a:sym typeface="Circe"/>
        </a:defRPr>
      </a:lvl1pPr>
      <a:lvl2pPr marL="0" marR="0" indent="0" algn="l" defTabSz="55449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65" b="1" i="0" u="none" strike="noStrike" cap="none" spc="0" baseline="0">
          <a:ln>
            <a:noFill/>
          </a:ln>
          <a:solidFill>
            <a:srgbClr val="000000"/>
          </a:solidFill>
          <a:uFillTx/>
          <a:latin typeface="Circe"/>
          <a:ea typeface="Circe"/>
          <a:cs typeface="Circe"/>
          <a:sym typeface="Circe"/>
        </a:defRPr>
      </a:lvl2pPr>
      <a:lvl3pPr marL="0" marR="0" indent="0" algn="l" defTabSz="55449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65" b="1" i="0" u="none" strike="noStrike" cap="none" spc="0" baseline="0">
          <a:ln>
            <a:noFill/>
          </a:ln>
          <a:solidFill>
            <a:srgbClr val="000000"/>
          </a:solidFill>
          <a:uFillTx/>
          <a:latin typeface="Circe"/>
          <a:ea typeface="Circe"/>
          <a:cs typeface="Circe"/>
          <a:sym typeface="Circe"/>
        </a:defRPr>
      </a:lvl3pPr>
      <a:lvl4pPr marL="0" marR="0" indent="0" algn="l" defTabSz="55449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65" b="1" i="0" u="none" strike="noStrike" cap="none" spc="0" baseline="0">
          <a:ln>
            <a:noFill/>
          </a:ln>
          <a:solidFill>
            <a:srgbClr val="000000"/>
          </a:solidFill>
          <a:uFillTx/>
          <a:latin typeface="Circe"/>
          <a:ea typeface="Circe"/>
          <a:cs typeface="Circe"/>
          <a:sym typeface="Circe"/>
        </a:defRPr>
      </a:lvl4pPr>
      <a:lvl5pPr marL="0" marR="0" indent="0" algn="l" defTabSz="55449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65" b="1" i="0" u="none" strike="noStrike" cap="none" spc="0" baseline="0">
          <a:ln>
            <a:noFill/>
          </a:ln>
          <a:solidFill>
            <a:srgbClr val="000000"/>
          </a:solidFill>
          <a:uFillTx/>
          <a:latin typeface="Circe"/>
          <a:ea typeface="Circe"/>
          <a:cs typeface="Circe"/>
          <a:sym typeface="Circe"/>
        </a:defRPr>
      </a:lvl5pPr>
      <a:lvl6pPr marL="0" marR="0" indent="0" algn="l" defTabSz="55449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65" b="1" i="0" u="none" strike="noStrike" cap="none" spc="0" baseline="0">
          <a:ln>
            <a:noFill/>
          </a:ln>
          <a:solidFill>
            <a:srgbClr val="000000"/>
          </a:solidFill>
          <a:uFillTx/>
          <a:latin typeface="Circe"/>
          <a:ea typeface="Circe"/>
          <a:cs typeface="Circe"/>
          <a:sym typeface="Circe"/>
        </a:defRPr>
      </a:lvl6pPr>
      <a:lvl7pPr marL="0" marR="0" indent="0" algn="l" defTabSz="55449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65" b="1" i="0" u="none" strike="noStrike" cap="none" spc="0" baseline="0">
          <a:ln>
            <a:noFill/>
          </a:ln>
          <a:solidFill>
            <a:srgbClr val="000000"/>
          </a:solidFill>
          <a:uFillTx/>
          <a:latin typeface="Circe"/>
          <a:ea typeface="Circe"/>
          <a:cs typeface="Circe"/>
          <a:sym typeface="Circe"/>
        </a:defRPr>
      </a:lvl7pPr>
      <a:lvl8pPr marL="0" marR="0" indent="0" algn="l" defTabSz="55449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65" b="1" i="0" u="none" strike="noStrike" cap="none" spc="0" baseline="0">
          <a:ln>
            <a:noFill/>
          </a:ln>
          <a:solidFill>
            <a:srgbClr val="000000"/>
          </a:solidFill>
          <a:uFillTx/>
          <a:latin typeface="Circe"/>
          <a:ea typeface="Circe"/>
          <a:cs typeface="Circe"/>
          <a:sym typeface="Circe"/>
        </a:defRPr>
      </a:lvl8pPr>
      <a:lvl9pPr marL="0" marR="0" indent="0" algn="l" defTabSz="55449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65" b="1" i="0" u="none" strike="noStrike" cap="none" spc="0" baseline="0">
          <a:ln>
            <a:noFill/>
          </a:ln>
          <a:solidFill>
            <a:srgbClr val="000000"/>
          </a:solidFill>
          <a:uFillTx/>
          <a:latin typeface="Circe"/>
          <a:ea typeface="Circe"/>
          <a:cs typeface="Circe"/>
          <a:sym typeface="Circe"/>
        </a:defRPr>
      </a:lvl9pPr>
    </p:titleStyle>
    <p:bodyStyle>
      <a:lvl1pPr marL="0" marR="0" indent="0" algn="l" defTabSz="55449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21" b="1" i="0" u="none" strike="noStrike" cap="none" spc="0" baseline="0">
          <a:ln>
            <a:noFill/>
          </a:ln>
          <a:solidFill>
            <a:srgbClr val="FFFFFF"/>
          </a:solidFill>
          <a:uFillTx/>
          <a:latin typeface="Circe Bold"/>
          <a:ea typeface="Circe Bold"/>
          <a:cs typeface="Circe Bold"/>
          <a:sym typeface="Circe Bold"/>
        </a:defRPr>
      </a:lvl1pPr>
      <a:lvl2pPr marL="0" marR="0" indent="277246" algn="l" defTabSz="55449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21" b="1" i="0" u="none" strike="noStrike" cap="none" spc="0" baseline="0">
          <a:ln>
            <a:noFill/>
          </a:ln>
          <a:solidFill>
            <a:srgbClr val="FFFFFF"/>
          </a:solidFill>
          <a:uFillTx/>
          <a:latin typeface="Circe Bold"/>
          <a:ea typeface="Circe Bold"/>
          <a:cs typeface="Circe Bold"/>
          <a:sym typeface="Circe Bold"/>
        </a:defRPr>
      </a:lvl2pPr>
      <a:lvl3pPr marL="0" marR="0" indent="554492" algn="l" defTabSz="55449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21" b="1" i="0" u="none" strike="noStrike" cap="none" spc="0" baseline="0">
          <a:ln>
            <a:noFill/>
          </a:ln>
          <a:solidFill>
            <a:srgbClr val="FFFFFF"/>
          </a:solidFill>
          <a:uFillTx/>
          <a:latin typeface="Circe Bold"/>
          <a:ea typeface="Circe Bold"/>
          <a:cs typeface="Circe Bold"/>
          <a:sym typeface="Circe Bold"/>
        </a:defRPr>
      </a:lvl3pPr>
      <a:lvl4pPr marL="0" marR="0" indent="831738" algn="l" defTabSz="55449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21" b="1" i="0" u="none" strike="noStrike" cap="none" spc="0" baseline="0">
          <a:ln>
            <a:noFill/>
          </a:ln>
          <a:solidFill>
            <a:srgbClr val="FFFFFF"/>
          </a:solidFill>
          <a:uFillTx/>
          <a:latin typeface="Circe Bold"/>
          <a:ea typeface="Circe Bold"/>
          <a:cs typeface="Circe Bold"/>
          <a:sym typeface="Circe Bold"/>
        </a:defRPr>
      </a:lvl4pPr>
      <a:lvl5pPr marL="0" marR="0" indent="1108984" algn="l" defTabSz="55449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21" b="1" i="0" u="none" strike="noStrike" cap="none" spc="0" baseline="0">
          <a:ln>
            <a:noFill/>
          </a:ln>
          <a:solidFill>
            <a:srgbClr val="FFFFFF"/>
          </a:solidFill>
          <a:uFillTx/>
          <a:latin typeface="Circe Bold"/>
          <a:ea typeface="Circe Bold"/>
          <a:cs typeface="Circe Bold"/>
          <a:sym typeface="Circe Bold"/>
        </a:defRPr>
      </a:lvl5pPr>
      <a:lvl6pPr marL="0" marR="0" indent="1386230" algn="l" defTabSz="55449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21" b="1" i="0" u="none" strike="noStrike" cap="none" spc="0" baseline="0">
          <a:ln>
            <a:noFill/>
          </a:ln>
          <a:solidFill>
            <a:srgbClr val="FFFFFF"/>
          </a:solidFill>
          <a:uFillTx/>
          <a:latin typeface="Circe Bold"/>
          <a:ea typeface="Circe Bold"/>
          <a:cs typeface="Circe Bold"/>
          <a:sym typeface="Circe Bold"/>
        </a:defRPr>
      </a:lvl6pPr>
      <a:lvl7pPr marL="0" marR="0" indent="1663476" algn="l" defTabSz="55449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21" b="1" i="0" u="none" strike="noStrike" cap="none" spc="0" baseline="0">
          <a:ln>
            <a:noFill/>
          </a:ln>
          <a:solidFill>
            <a:srgbClr val="FFFFFF"/>
          </a:solidFill>
          <a:uFillTx/>
          <a:latin typeface="Circe Bold"/>
          <a:ea typeface="Circe Bold"/>
          <a:cs typeface="Circe Bold"/>
          <a:sym typeface="Circe Bold"/>
        </a:defRPr>
      </a:lvl7pPr>
      <a:lvl8pPr marL="0" marR="0" indent="1940723" algn="l" defTabSz="55449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21" b="1" i="0" u="none" strike="noStrike" cap="none" spc="0" baseline="0">
          <a:ln>
            <a:noFill/>
          </a:ln>
          <a:solidFill>
            <a:srgbClr val="FFFFFF"/>
          </a:solidFill>
          <a:uFillTx/>
          <a:latin typeface="Circe Bold"/>
          <a:ea typeface="Circe Bold"/>
          <a:cs typeface="Circe Bold"/>
          <a:sym typeface="Circe Bold"/>
        </a:defRPr>
      </a:lvl8pPr>
      <a:lvl9pPr marL="0" marR="0" indent="2217969" algn="l" defTabSz="55449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21" b="1" i="0" u="none" strike="noStrike" cap="none" spc="0" baseline="0">
          <a:ln>
            <a:noFill/>
          </a:ln>
          <a:solidFill>
            <a:srgbClr val="FFFFFF"/>
          </a:solidFill>
          <a:uFillTx/>
          <a:latin typeface="Circe Bold"/>
          <a:ea typeface="Circe Bold"/>
          <a:cs typeface="Circe Bold"/>
          <a:sym typeface="Circe Bold"/>
        </a:defRPr>
      </a:lvl9pPr>
    </p:bodyStyle>
    <p:otherStyle>
      <a:lvl1pPr marL="0" marR="0" indent="7701" algn="r" defTabSz="55449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" b="0" i="0" u="none" strike="noStrike" cap="none" spc="9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irce"/>
        </a:defRPr>
      </a:lvl1pPr>
      <a:lvl2pPr marL="0" marR="0" indent="277246" algn="r" defTabSz="55449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" b="0" i="0" u="none" strike="noStrike" cap="none" spc="9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irce"/>
        </a:defRPr>
      </a:lvl2pPr>
      <a:lvl3pPr marL="0" marR="0" indent="554492" algn="r" defTabSz="55449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" b="0" i="0" u="none" strike="noStrike" cap="none" spc="9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irce"/>
        </a:defRPr>
      </a:lvl3pPr>
      <a:lvl4pPr marL="0" marR="0" indent="831738" algn="r" defTabSz="55449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" b="0" i="0" u="none" strike="noStrike" cap="none" spc="9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irce"/>
        </a:defRPr>
      </a:lvl4pPr>
      <a:lvl5pPr marL="0" marR="0" indent="1108984" algn="r" defTabSz="55449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" b="0" i="0" u="none" strike="noStrike" cap="none" spc="9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irce"/>
        </a:defRPr>
      </a:lvl5pPr>
      <a:lvl6pPr marL="0" marR="0" indent="1386230" algn="r" defTabSz="55449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" b="0" i="0" u="none" strike="noStrike" cap="none" spc="9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irce"/>
        </a:defRPr>
      </a:lvl6pPr>
      <a:lvl7pPr marL="0" marR="0" indent="1663476" algn="r" defTabSz="55449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" b="0" i="0" u="none" strike="noStrike" cap="none" spc="9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irce"/>
        </a:defRPr>
      </a:lvl7pPr>
      <a:lvl8pPr marL="0" marR="0" indent="1940723" algn="r" defTabSz="55449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" b="0" i="0" u="none" strike="noStrike" cap="none" spc="9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irce"/>
        </a:defRPr>
      </a:lvl8pPr>
      <a:lvl9pPr marL="0" marR="0" indent="2217969" algn="r" defTabSz="55449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9" b="0" i="0" u="none" strike="noStrike" cap="none" spc="9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irce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1.jpeg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4.jpeg"/><Relationship Id="rId11" Type="http://schemas.openxmlformats.org/officeDocument/2006/relationships/image" Target="../media/image19.jpeg"/><Relationship Id="rId5" Type="http://schemas.openxmlformats.org/officeDocument/2006/relationships/image" Target="../media/image13.jpeg"/><Relationship Id="rId10" Type="http://schemas.openxmlformats.org/officeDocument/2006/relationships/image" Target="../media/image18.jpeg"/><Relationship Id="rId4" Type="http://schemas.openxmlformats.org/officeDocument/2006/relationships/image" Target="../media/image12.jpeg"/><Relationship Id="rId9" Type="http://schemas.openxmlformats.org/officeDocument/2006/relationships/image" Target="../media/image17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image" Target="../media/image22.jpe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chart" Target="../charts/chart11.xml"/><Relationship Id="rId5" Type="http://schemas.openxmlformats.org/officeDocument/2006/relationships/tags" Target="../tags/tag5.xml"/><Relationship Id="rId61" Type="http://schemas.openxmlformats.org/officeDocument/2006/relationships/chart" Target="../charts/chart14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slideLayout" Target="../slideLayouts/slideLayout20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chart" Target="../charts/chart12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notesSlide" Target="../notesSlides/notesSlide16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chart" Target="../charts/chart13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57.xml"/><Relationship Id="rId7" Type="http://schemas.openxmlformats.org/officeDocument/2006/relationships/image" Target="../media/image29.png"/><Relationship Id="rId2" Type="http://schemas.openxmlformats.org/officeDocument/2006/relationships/tags" Target="../tags/tag56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0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59.xml"/><Relationship Id="rId7" Type="http://schemas.openxmlformats.org/officeDocument/2006/relationships/image" Target="../media/image31.png"/><Relationship Id="rId2" Type="http://schemas.openxmlformats.org/officeDocument/2006/relationships/tags" Target="../tags/tag5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33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emf"/><Relationship Id="rId3" Type="http://schemas.openxmlformats.org/officeDocument/2006/relationships/tags" Target="../tags/tag61.xml"/><Relationship Id="rId7" Type="http://schemas.openxmlformats.org/officeDocument/2006/relationships/image" Target="../media/image28.emf"/><Relationship Id="rId2" Type="http://schemas.openxmlformats.org/officeDocument/2006/relationships/tags" Target="../tags/tag6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35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image" Target="../media/image36.png"/><Relationship Id="rId7" Type="http://schemas.openxmlformats.org/officeDocument/2006/relationships/diagramQuickStyle" Target="../diagrams/quickStyle3.xml"/><Relationship Id="rId12" Type="http://schemas.openxmlformats.org/officeDocument/2006/relationships/image" Target="../media/image4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5.xml"/><Relationship Id="rId6" Type="http://schemas.openxmlformats.org/officeDocument/2006/relationships/diagramLayout" Target="../diagrams/layout3.xml"/><Relationship Id="rId11" Type="http://schemas.openxmlformats.org/officeDocument/2006/relationships/image" Target="../media/image41.png"/><Relationship Id="rId5" Type="http://schemas.openxmlformats.org/officeDocument/2006/relationships/diagramData" Target="../diagrams/data3.xml"/><Relationship Id="rId10" Type="http://schemas.openxmlformats.org/officeDocument/2006/relationships/image" Target="../media/image40.png"/><Relationship Id="rId4" Type="http://schemas.microsoft.com/office/2007/relationships/hdphoto" Target="../media/hdphoto1.wdp"/><Relationship Id="rId9" Type="http://schemas.microsoft.com/office/2007/relationships/diagramDrawing" Target="../diagrams/drawing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0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34A164C9-67A0-46A5-AE6B-8048A68B4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3952" y="2348880"/>
            <a:ext cx="5832648" cy="936104"/>
          </a:xfrm>
        </p:spPr>
        <p:txBody>
          <a:bodyPr>
            <a:noAutofit/>
          </a:bodyPr>
          <a:lstStyle/>
          <a:p>
            <a:r>
              <a:rPr lang="ru-RU" sz="2400" dirty="0"/>
              <a:t>Деятельность НМЦ ГССО и перспективы развития эталонной базы филиала УНИИМ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1DD377A8-C9D5-498B-A06C-4B677E72E69D}"/>
              </a:ext>
            </a:extLst>
          </p:cNvPr>
          <p:cNvSpPr txBox="1">
            <a:spLocks/>
          </p:cNvSpPr>
          <p:nvPr/>
        </p:nvSpPr>
        <p:spPr>
          <a:xfrm>
            <a:off x="1127448" y="5013176"/>
            <a:ext cx="3744416" cy="78916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  <a:defRPr/>
            </a:pPr>
            <a:r>
              <a:rPr lang="ru-RU" sz="1600" dirty="0">
                <a:solidFill>
                  <a:schemeClr val="bg1"/>
                </a:solidFill>
              </a:rPr>
              <a:t>Докладчик - Е.П. Собина</a:t>
            </a:r>
            <a:r>
              <a:rPr lang="en-US" sz="1600" dirty="0">
                <a:solidFill>
                  <a:schemeClr val="bg1"/>
                </a:solidFill>
              </a:rPr>
              <a:t>,</a:t>
            </a:r>
            <a:r>
              <a:rPr lang="ru-RU" sz="1600" dirty="0">
                <a:solidFill>
                  <a:schemeClr val="bg1"/>
                </a:solidFill>
              </a:rPr>
              <a:t> </a:t>
            </a:r>
          </a:p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  <a:defRPr/>
            </a:pPr>
            <a:r>
              <a:rPr lang="ru-RU" sz="1600" dirty="0">
                <a:solidFill>
                  <a:schemeClr val="bg1"/>
                </a:solidFill>
              </a:rPr>
              <a:t>д.т.н., директор филиала </a:t>
            </a:r>
          </a:p>
          <a:p>
            <a:pPr marL="0" indent="0">
              <a:lnSpc>
                <a:spcPct val="80000"/>
              </a:lnSpc>
              <a:buFont typeface="Arial" panose="020B0604020202020204" pitchFamily="34" charset="0"/>
              <a:buNone/>
              <a:defRPr/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4" name="Объект 5">
            <a:extLst>
              <a:ext uri="{FF2B5EF4-FFF2-40B4-BE49-F238E27FC236}">
                <a16:creationId xmlns:a16="http://schemas.microsoft.com/office/drawing/2014/main" id="{73474BB2-B3D2-85C9-06B6-C803ABE75D1D}"/>
              </a:ext>
            </a:extLst>
          </p:cNvPr>
          <p:cNvSpPr txBox="1">
            <a:spLocks/>
          </p:cNvSpPr>
          <p:nvPr/>
        </p:nvSpPr>
        <p:spPr>
          <a:xfrm>
            <a:off x="1199456" y="4869160"/>
            <a:ext cx="3744416" cy="78916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  <a:defRPr/>
            </a:pPr>
            <a:r>
              <a:rPr lang="ru-RU" sz="1800" dirty="0">
                <a:solidFill>
                  <a:srgbClr val="004E6B"/>
                </a:solidFill>
              </a:rPr>
              <a:t>Докладчик - Е.П. Собина</a:t>
            </a:r>
            <a:r>
              <a:rPr lang="en-US" sz="1800" dirty="0">
                <a:solidFill>
                  <a:srgbClr val="004E6B"/>
                </a:solidFill>
              </a:rPr>
              <a:t>,</a:t>
            </a:r>
            <a:r>
              <a:rPr lang="ru-RU" sz="1800" dirty="0">
                <a:solidFill>
                  <a:srgbClr val="004E6B"/>
                </a:solidFill>
              </a:rPr>
              <a:t> </a:t>
            </a:r>
          </a:p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  <a:defRPr/>
            </a:pPr>
            <a:r>
              <a:rPr lang="ru-RU" sz="1800" dirty="0">
                <a:solidFill>
                  <a:srgbClr val="004E6B"/>
                </a:solidFill>
              </a:rPr>
              <a:t>д.т.н., директор филиала </a:t>
            </a:r>
          </a:p>
          <a:p>
            <a:pPr marL="0" indent="0">
              <a:lnSpc>
                <a:spcPct val="80000"/>
              </a:lnSpc>
              <a:buFont typeface="Arial" panose="020B0604020202020204" pitchFamily="34" charset="0"/>
              <a:buNone/>
              <a:defRPr/>
            </a:pPr>
            <a:endParaRPr lang="ru-RU" sz="1800" dirty="0">
              <a:solidFill>
                <a:srgbClr val="004E6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422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1344" y="365125"/>
            <a:ext cx="11809312" cy="1325563"/>
          </a:xfrm>
        </p:spPr>
        <p:txBody>
          <a:bodyPr/>
          <a:lstStyle/>
          <a:p>
            <a:pPr marL="355600">
              <a:lnSpc>
                <a:spcPct val="80000"/>
              </a:lnSpc>
              <a:spcBef>
                <a:spcPts val="425"/>
              </a:spcBef>
              <a:tabLst>
                <a:tab pos="355600" algn="l"/>
                <a:tab pos="460375" algn="l"/>
                <a:tab pos="909638" algn="l"/>
                <a:tab pos="1358900" algn="l"/>
                <a:tab pos="1808163" algn="l"/>
                <a:tab pos="2257425" algn="l"/>
                <a:tab pos="2706688" algn="l"/>
                <a:tab pos="3155950" algn="l"/>
                <a:tab pos="3605213" algn="l"/>
                <a:tab pos="4054475" algn="l"/>
                <a:tab pos="4503738" algn="l"/>
                <a:tab pos="4953000" algn="l"/>
                <a:tab pos="5402263" algn="l"/>
                <a:tab pos="5851525" algn="l"/>
                <a:tab pos="6300788" algn="l"/>
                <a:tab pos="6750050" algn="l"/>
                <a:tab pos="7199313" algn="l"/>
                <a:tab pos="7648575" algn="l"/>
                <a:tab pos="8097838" algn="l"/>
                <a:tab pos="8547100" algn="l"/>
                <a:tab pos="8996363" algn="l"/>
              </a:tabLst>
              <a:defRPr/>
            </a:pPr>
            <a:r>
              <a:rPr lang="ru-RU" altLang="ru-RU" sz="2400" b="1" dirty="0">
                <a:latin typeface="Times New Roman" panose="02020603050405020304" pitchFamily="18" charset="0"/>
                <a:ea typeface="Circe"/>
                <a:cs typeface="Times New Roman" panose="02020603050405020304" pitchFamily="18" charset="0"/>
              </a:rPr>
              <a:t> Организации-производители выпускающие СО</a:t>
            </a:r>
            <a:br>
              <a:rPr lang="ru-RU" altLang="ru-RU" sz="2400" b="1" dirty="0">
                <a:latin typeface="Times New Roman" panose="02020603050405020304" pitchFamily="18" charset="0"/>
                <a:ea typeface="Circe"/>
                <a:cs typeface="Times New Roman" panose="02020603050405020304" pitchFamily="18" charset="0"/>
              </a:rPr>
            </a:br>
            <a:r>
              <a:rPr lang="ru-RU" altLang="ru-RU" sz="2400" b="1" dirty="0">
                <a:latin typeface="Times New Roman" panose="02020603050405020304" pitchFamily="18" charset="0"/>
                <a:ea typeface="Circe"/>
                <a:cs typeface="Times New Roman" panose="02020603050405020304" pitchFamily="18" charset="0"/>
              </a:rPr>
              <a:t> для газодобывающей и газоперерабатывающей промышленности </a:t>
            </a:r>
            <a:br>
              <a:rPr lang="ru-RU" altLang="ru-RU" sz="2400" b="1" dirty="0">
                <a:latin typeface="Times New Roman" panose="02020603050405020304" pitchFamily="18" charset="0"/>
                <a:ea typeface="Circe"/>
                <a:cs typeface="Times New Roman" panose="02020603050405020304" pitchFamily="18" charset="0"/>
              </a:rPr>
            </a:br>
            <a:r>
              <a:rPr lang="ru-RU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о состоянию на 27.01.2025 г.)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255815B-AD1E-49D8-8E6F-989E26A7EBA1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68797458"/>
              </p:ext>
            </p:extLst>
          </p:nvPr>
        </p:nvGraphicFramePr>
        <p:xfrm>
          <a:off x="695400" y="1196752"/>
          <a:ext cx="11017224" cy="54726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59609520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5745" name="Line 1"/>
          <p:cNvSpPr>
            <a:spLocks noChangeShapeType="1"/>
          </p:cNvSpPr>
          <p:nvPr/>
        </p:nvSpPr>
        <p:spPr bwMode="auto">
          <a:xfrm>
            <a:off x="5664200" y="3500439"/>
            <a:ext cx="1588" cy="1587"/>
          </a:xfrm>
          <a:prstGeom prst="line">
            <a:avLst/>
          </a:prstGeom>
          <a:noFill/>
          <a:ln w="9360">
            <a:solidFill>
              <a:srgbClr val="000000"/>
            </a:solidFill>
            <a:miter lim="800000"/>
            <a:headEnd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/>
          </p:nvPr>
        </p:nvSpPr>
        <p:spPr>
          <a:xfrm>
            <a:off x="191344" y="146050"/>
            <a:ext cx="11809312" cy="1129078"/>
          </a:xfrm>
        </p:spPr>
        <p:txBody>
          <a:bodyPr anchor="t">
            <a:normAutofit/>
          </a:bodyPr>
          <a:lstStyle/>
          <a:p>
            <a:pPr algn="l"/>
            <a:r>
              <a:rPr lang="ru-RU" altLang="ru-RU" sz="2400" b="1" dirty="0">
                <a:latin typeface="Times New Roman" panose="02020603050405020304" pitchFamily="18" charset="0"/>
                <a:ea typeface="Circe"/>
                <a:cs typeface="Times New Roman" panose="02020603050405020304" pitchFamily="18" charset="0"/>
              </a:rPr>
              <a:t>Распределение по способу аттестации СО</a:t>
            </a:r>
          </a:p>
          <a:p>
            <a:pPr algn="l"/>
            <a:r>
              <a:rPr lang="ru-RU" altLang="ru-RU" sz="2400" b="1" dirty="0">
                <a:latin typeface="Times New Roman" panose="02020603050405020304" pitchFamily="18" charset="0"/>
                <a:ea typeface="Circe"/>
                <a:cs typeface="Times New Roman" panose="02020603050405020304" pitchFamily="18" charset="0"/>
              </a:rPr>
              <a:t>для нефтяной и нефтеперерабатывающей промышленности </a:t>
            </a:r>
          </a:p>
          <a:p>
            <a:pPr algn="l"/>
            <a:r>
              <a:rPr lang="ru-RU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о состоянию на 27.01.2025 г.)</a:t>
            </a:r>
          </a:p>
          <a:p>
            <a:pPr marL="355600">
              <a:lnSpc>
                <a:spcPct val="80000"/>
              </a:lnSpc>
              <a:spcBef>
                <a:spcPts val="425"/>
              </a:spcBef>
              <a:tabLst>
                <a:tab pos="355600" algn="l"/>
                <a:tab pos="460375" algn="l"/>
                <a:tab pos="909638" algn="l"/>
                <a:tab pos="1358900" algn="l"/>
                <a:tab pos="1808163" algn="l"/>
                <a:tab pos="2257425" algn="l"/>
                <a:tab pos="2706688" algn="l"/>
                <a:tab pos="3155950" algn="l"/>
                <a:tab pos="3605213" algn="l"/>
                <a:tab pos="4054475" algn="l"/>
                <a:tab pos="4503738" algn="l"/>
                <a:tab pos="4953000" algn="l"/>
                <a:tab pos="5402263" algn="l"/>
                <a:tab pos="5851525" algn="l"/>
                <a:tab pos="6300788" algn="l"/>
                <a:tab pos="6750050" algn="l"/>
                <a:tab pos="7199313" algn="l"/>
                <a:tab pos="7648575" algn="l"/>
                <a:tab pos="8097838" algn="l"/>
                <a:tab pos="8547100" algn="l"/>
                <a:tab pos="8996363" algn="l"/>
              </a:tabLst>
              <a:defRPr/>
            </a:pPr>
            <a:endParaRPr lang="ru-RU" sz="3600" b="1" dirty="0">
              <a:solidFill>
                <a:srgbClr val="002060"/>
              </a:solidFill>
            </a:endParaRPr>
          </a:p>
          <a:p>
            <a:pPr marL="355600">
              <a:lnSpc>
                <a:spcPct val="80000"/>
              </a:lnSpc>
              <a:spcBef>
                <a:spcPts val="425"/>
              </a:spcBef>
              <a:tabLst>
                <a:tab pos="355600" algn="l"/>
                <a:tab pos="460375" algn="l"/>
                <a:tab pos="909638" algn="l"/>
                <a:tab pos="1358900" algn="l"/>
                <a:tab pos="1808163" algn="l"/>
                <a:tab pos="2257425" algn="l"/>
                <a:tab pos="2706688" algn="l"/>
                <a:tab pos="3155950" algn="l"/>
                <a:tab pos="3605213" algn="l"/>
                <a:tab pos="4054475" algn="l"/>
                <a:tab pos="4503738" algn="l"/>
                <a:tab pos="4953000" algn="l"/>
                <a:tab pos="5402263" algn="l"/>
                <a:tab pos="5851525" algn="l"/>
                <a:tab pos="6300788" algn="l"/>
                <a:tab pos="6750050" algn="l"/>
                <a:tab pos="7199313" algn="l"/>
                <a:tab pos="7648575" algn="l"/>
                <a:tab pos="8097838" algn="l"/>
                <a:tab pos="8547100" algn="l"/>
                <a:tab pos="8996363" algn="l"/>
              </a:tabLst>
              <a:defRPr/>
            </a:pPr>
            <a:endParaRPr lang="ru-RU" sz="3600" b="1" dirty="0">
              <a:solidFill>
                <a:srgbClr val="800000"/>
              </a:solidFill>
            </a:endParaRPr>
          </a:p>
          <a:p>
            <a:pPr marL="355600">
              <a:lnSpc>
                <a:spcPct val="80000"/>
              </a:lnSpc>
              <a:spcBef>
                <a:spcPts val="425"/>
              </a:spcBef>
              <a:tabLst>
                <a:tab pos="355600" algn="l"/>
                <a:tab pos="460375" algn="l"/>
                <a:tab pos="909638" algn="l"/>
                <a:tab pos="1358900" algn="l"/>
                <a:tab pos="1808163" algn="l"/>
                <a:tab pos="2257425" algn="l"/>
                <a:tab pos="2706688" algn="l"/>
                <a:tab pos="3155950" algn="l"/>
                <a:tab pos="3605213" algn="l"/>
                <a:tab pos="4054475" algn="l"/>
                <a:tab pos="4503738" algn="l"/>
                <a:tab pos="4953000" algn="l"/>
                <a:tab pos="5402263" algn="l"/>
                <a:tab pos="5851525" algn="l"/>
                <a:tab pos="6300788" algn="l"/>
                <a:tab pos="6750050" algn="l"/>
                <a:tab pos="7199313" algn="l"/>
                <a:tab pos="7648575" algn="l"/>
                <a:tab pos="8097838" algn="l"/>
                <a:tab pos="8547100" algn="l"/>
                <a:tab pos="8996363" algn="l"/>
              </a:tabLst>
              <a:defRPr/>
            </a:pPr>
            <a:endParaRPr lang="ru-RU" sz="3600" b="1" dirty="0">
              <a:solidFill>
                <a:srgbClr val="800000"/>
              </a:solidFill>
            </a:endParaRPr>
          </a:p>
          <a:p>
            <a:pPr algn="l">
              <a:defRPr/>
            </a:pPr>
            <a:endParaRPr lang="ru-RU" sz="3600" dirty="0"/>
          </a:p>
          <a:p>
            <a:pPr algn="l">
              <a:defRPr/>
            </a:pPr>
            <a:endParaRPr lang="ru-RU" sz="3600" dirty="0"/>
          </a:p>
          <a:p>
            <a:pPr marL="355600">
              <a:lnSpc>
                <a:spcPct val="80000"/>
              </a:lnSpc>
              <a:spcBef>
                <a:spcPts val="425"/>
              </a:spcBef>
              <a:tabLst>
                <a:tab pos="355600" algn="l"/>
                <a:tab pos="460375" algn="l"/>
                <a:tab pos="909638" algn="l"/>
                <a:tab pos="1358900" algn="l"/>
                <a:tab pos="1808163" algn="l"/>
                <a:tab pos="2257425" algn="l"/>
                <a:tab pos="2706688" algn="l"/>
                <a:tab pos="3155950" algn="l"/>
                <a:tab pos="3605213" algn="l"/>
                <a:tab pos="4054475" algn="l"/>
                <a:tab pos="4503738" algn="l"/>
                <a:tab pos="4953000" algn="l"/>
                <a:tab pos="5402263" algn="l"/>
                <a:tab pos="5851525" algn="l"/>
                <a:tab pos="6300788" algn="l"/>
                <a:tab pos="6750050" algn="l"/>
                <a:tab pos="7199313" algn="l"/>
                <a:tab pos="7648575" algn="l"/>
                <a:tab pos="8097838" algn="l"/>
                <a:tab pos="8547100" algn="l"/>
                <a:tab pos="8996363" algn="l"/>
              </a:tabLst>
              <a:defRPr/>
            </a:pPr>
            <a:endParaRPr lang="ru-RU" sz="3600" b="1" i="1" dirty="0">
              <a:solidFill>
                <a:srgbClr val="800000"/>
              </a:solidFill>
            </a:endParaRPr>
          </a:p>
          <a:p>
            <a:pPr marL="355600">
              <a:lnSpc>
                <a:spcPct val="80000"/>
              </a:lnSpc>
              <a:spcBef>
                <a:spcPts val="425"/>
              </a:spcBef>
              <a:tabLst>
                <a:tab pos="355600" algn="l"/>
                <a:tab pos="460375" algn="l"/>
                <a:tab pos="909638" algn="l"/>
                <a:tab pos="1358900" algn="l"/>
                <a:tab pos="1808163" algn="l"/>
                <a:tab pos="2257425" algn="l"/>
                <a:tab pos="2706688" algn="l"/>
                <a:tab pos="3155950" algn="l"/>
                <a:tab pos="3605213" algn="l"/>
                <a:tab pos="4054475" algn="l"/>
                <a:tab pos="4503738" algn="l"/>
                <a:tab pos="4953000" algn="l"/>
                <a:tab pos="5402263" algn="l"/>
                <a:tab pos="5851525" algn="l"/>
                <a:tab pos="6300788" algn="l"/>
                <a:tab pos="6750050" algn="l"/>
                <a:tab pos="7199313" algn="l"/>
                <a:tab pos="7648575" algn="l"/>
                <a:tab pos="8097838" algn="l"/>
                <a:tab pos="8547100" algn="l"/>
                <a:tab pos="8996363" algn="l"/>
              </a:tabLst>
              <a:defRPr/>
            </a:pPr>
            <a:endParaRPr lang="ru-RU" sz="3600" b="1" dirty="0">
              <a:solidFill>
                <a:srgbClr val="800000"/>
              </a:solidFill>
            </a:endParaRPr>
          </a:p>
          <a:p>
            <a:pPr marL="355600">
              <a:lnSpc>
                <a:spcPct val="80000"/>
              </a:lnSpc>
              <a:spcBef>
                <a:spcPts val="425"/>
              </a:spcBef>
              <a:tabLst>
                <a:tab pos="355600" algn="l"/>
                <a:tab pos="460375" algn="l"/>
                <a:tab pos="909638" algn="l"/>
                <a:tab pos="1358900" algn="l"/>
                <a:tab pos="1808163" algn="l"/>
                <a:tab pos="2257425" algn="l"/>
                <a:tab pos="2706688" algn="l"/>
                <a:tab pos="3155950" algn="l"/>
                <a:tab pos="3605213" algn="l"/>
                <a:tab pos="4054475" algn="l"/>
                <a:tab pos="4503738" algn="l"/>
                <a:tab pos="4953000" algn="l"/>
                <a:tab pos="5402263" algn="l"/>
                <a:tab pos="5851525" algn="l"/>
                <a:tab pos="6300788" algn="l"/>
                <a:tab pos="6750050" algn="l"/>
                <a:tab pos="7199313" algn="l"/>
                <a:tab pos="7648575" algn="l"/>
                <a:tab pos="8097838" algn="l"/>
                <a:tab pos="8547100" algn="l"/>
                <a:tab pos="8996363" algn="l"/>
              </a:tabLst>
              <a:defRPr/>
            </a:pPr>
            <a:endParaRPr lang="ru-RU" sz="3600" b="1" dirty="0">
              <a:solidFill>
                <a:srgbClr val="800000"/>
              </a:solidFill>
            </a:endParaRPr>
          </a:p>
          <a:p>
            <a:pPr marL="355600">
              <a:lnSpc>
                <a:spcPct val="80000"/>
              </a:lnSpc>
              <a:spcBef>
                <a:spcPts val="325"/>
              </a:spcBef>
              <a:tabLst>
                <a:tab pos="355600" algn="l"/>
                <a:tab pos="460375" algn="l"/>
                <a:tab pos="909638" algn="l"/>
                <a:tab pos="1358900" algn="l"/>
                <a:tab pos="1808163" algn="l"/>
                <a:tab pos="2257425" algn="l"/>
                <a:tab pos="2706688" algn="l"/>
                <a:tab pos="3155950" algn="l"/>
                <a:tab pos="3605213" algn="l"/>
                <a:tab pos="4054475" algn="l"/>
                <a:tab pos="4503738" algn="l"/>
                <a:tab pos="4953000" algn="l"/>
                <a:tab pos="5402263" algn="l"/>
                <a:tab pos="5851525" algn="l"/>
                <a:tab pos="6300788" algn="l"/>
                <a:tab pos="6750050" algn="l"/>
                <a:tab pos="7199313" algn="l"/>
                <a:tab pos="7648575" algn="l"/>
                <a:tab pos="8097838" algn="l"/>
                <a:tab pos="8547100" algn="l"/>
                <a:tab pos="8996363" algn="l"/>
              </a:tabLst>
              <a:defRPr/>
            </a:pPr>
            <a:endParaRPr lang="ru-RU" sz="3600" dirty="0">
              <a:solidFill>
                <a:srgbClr val="000036"/>
              </a:solidFill>
            </a:endParaRPr>
          </a:p>
          <a:p>
            <a:pPr marL="355600">
              <a:lnSpc>
                <a:spcPct val="80000"/>
              </a:lnSpc>
              <a:spcBef>
                <a:spcPts val="125"/>
              </a:spcBef>
              <a:tabLst>
                <a:tab pos="355600" algn="l"/>
                <a:tab pos="460375" algn="l"/>
                <a:tab pos="909638" algn="l"/>
                <a:tab pos="1358900" algn="l"/>
                <a:tab pos="1808163" algn="l"/>
                <a:tab pos="2257425" algn="l"/>
                <a:tab pos="2706688" algn="l"/>
                <a:tab pos="3155950" algn="l"/>
                <a:tab pos="3605213" algn="l"/>
                <a:tab pos="4054475" algn="l"/>
                <a:tab pos="4503738" algn="l"/>
                <a:tab pos="4953000" algn="l"/>
                <a:tab pos="5402263" algn="l"/>
                <a:tab pos="5851525" algn="l"/>
                <a:tab pos="6300788" algn="l"/>
                <a:tab pos="6750050" algn="l"/>
                <a:tab pos="7199313" algn="l"/>
                <a:tab pos="7648575" algn="l"/>
                <a:tab pos="8097838" algn="l"/>
                <a:tab pos="8547100" algn="l"/>
                <a:tab pos="8996363" algn="l"/>
              </a:tabLst>
              <a:defRPr/>
            </a:pPr>
            <a:endParaRPr lang="ru-RU" sz="3600" dirty="0">
              <a:solidFill>
                <a:srgbClr val="000036"/>
              </a:solidFill>
            </a:endParaRPr>
          </a:p>
          <a:p>
            <a:pPr marL="355600">
              <a:lnSpc>
                <a:spcPct val="80000"/>
              </a:lnSpc>
              <a:spcBef>
                <a:spcPts val="125"/>
              </a:spcBef>
              <a:tabLst>
                <a:tab pos="355600" algn="l"/>
                <a:tab pos="460375" algn="l"/>
                <a:tab pos="909638" algn="l"/>
                <a:tab pos="1358900" algn="l"/>
                <a:tab pos="1808163" algn="l"/>
                <a:tab pos="2257425" algn="l"/>
                <a:tab pos="2706688" algn="l"/>
                <a:tab pos="3155950" algn="l"/>
                <a:tab pos="3605213" algn="l"/>
                <a:tab pos="4054475" algn="l"/>
                <a:tab pos="4503738" algn="l"/>
                <a:tab pos="4953000" algn="l"/>
                <a:tab pos="5402263" algn="l"/>
                <a:tab pos="5851525" algn="l"/>
                <a:tab pos="6300788" algn="l"/>
                <a:tab pos="6750050" algn="l"/>
                <a:tab pos="7199313" algn="l"/>
                <a:tab pos="7648575" algn="l"/>
                <a:tab pos="8097838" algn="l"/>
                <a:tab pos="8547100" algn="l"/>
                <a:tab pos="8996363" algn="l"/>
              </a:tabLst>
              <a:defRPr/>
            </a:pPr>
            <a:endParaRPr lang="ru-RU" sz="3600" dirty="0"/>
          </a:p>
          <a:p>
            <a:pPr marL="355600" algn="l">
              <a:lnSpc>
                <a:spcPct val="80000"/>
              </a:lnSpc>
              <a:spcBef>
                <a:spcPts val="500"/>
              </a:spcBef>
              <a:tabLst>
                <a:tab pos="355600" algn="l"/>
                <a:tab pos="460375" algn="l"/>
                <a:tab pos="909638" algn="l"/>
                <a:tab pos="1358900" algn="l"/>
                <a:tab pos="1808163" algn="l"/>
                <a:tab pos="2257425" algn="l"/>
                <a:tab pos="2706688" algn="l"/>
                <a:tab pos="3155950" algn="l"/>
                <a:tab pos="3605213" algn="l"/>
                <a:tab pos="4054475" algn="l"/>
                <a:tab pos="4503738" algn="l"/>
                <a:tab pos="4953000" algn="l"/>
                <a:tab pos="5402263" algn="l"/>
                <a:tab pos="5851525" algn="l"/>
                <a:tab pos="6300788" algn="l"/>
                <a:tab pos="6750050" algn="l"/>
                <a:tab pos="7199313" algn="l"/>
                <a:tab pos="7648575" algn="l"/>
                <a:tab pos="8097838" algn="l"/>
                <a:tab pos="8547100" algn="l"/>
                <a:tab pos="8996363" algn="l"/>
              </a:tabLst>
              <a:defRPr/>
            </a:pPr>
            <a:endParaRPr lang="ru-RU" sz="3600" dirty="0">
              <a:latin typeface="Times New Roman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3D28DA4-36EA-4324-8A52-F00EB28451DB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98971830"/>
              </p:ext>
            </p:extLst>
          </p:nvPr>
        </p:nvGraphicFramePr>
        <p:xfrm>
          <a:off x="533506" y="1143731"/>
          <a:ext cx="11124988" cy="4570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CF938867-D1D8-47A7-AF8D-3D5780CB03B2}"/>
              </a:ext>
            </a:extLst>
          </p:cNvPr>
          <p:cNvSpPr txBox="1"/>
          <p:nvPr/>
        </p:nvSpPr>
        <p:spPr>
          <a:xfrm>
            <a:off x="191344" y="5517232"/>
            <a:ext cx="1180454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altLang="ru-RU" sz="1800" b="1" dirty="0">
                <a:solidFill>
                  <a:srgbClr val="FF0000"/>
                </a:solidFill>
                <a:latin typeface="Times New Roman" panose="02020603050405020304" pitchFamily="18" charset="0"/>
                <a:ea typeface="Circe"/>
                <a:cs typeface="Times New Roman" panose="02020603050405020304" pitchFamily="18" charset="0"/>
              </a:rPr>
              <a:t>ПРОБЛЕМА!</a:t>
            </a:r>
          </a:p>
          <a:p>
            <a:r>
              <a:rPr lang="ru-RU" altLang="ru-RU" sz="1800" b="1" dirty="0">
                <a:solidFill>
                  <a:srgbClr val="FF0000"/>
                </a:solidFill>
                <a:latin typeface="Times New Roman" panose="02020603050405020304" pitchFamily="18" charset="0"/>
                <a:ea typeface="Circe"/>
                <a:cs typeface="Times New Roman" panose="02020603050405020304" pitchFamily="18" charset="0"/>
              </a:rPr>
              <a:t>??? Часть ГСО в области нефтеперерабатывающей промышленности  разработаны и испытаны по результатам межлабораторного эксперимента по стандартизованным метод</a:t>
            </a:r>
            <a:r>
              <a:rPr lang="ru-RU" altLang="ru-RU" b="1" dirty="0">
                <a:solidFill>
                  <a:srgbClr val="FF0000"/>
                </a:solidFill>
                <a:latin typeface="Times New Roman" panose="02020603050405020304" pitchFamily="18" charset="0"/>
                <a:ea typeface="Circe"/>
                <a:cs typeface="Times New Roman" panose="02020603050405020304" pitchFamily="18" charset="0"/>
              </a:rPr>
              <a:t>ам, которых нет в ФИФ ОЕИ.</a:t>
            </a:r>
            <a:endParaRPr lang="ru-RU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829298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ru-RU" altLang="ru-RU" sz="2400" b="1" dirty="0">
                <a:latin typeface="Times New Roman" panose="02020603050405020304" pitchFamily="18" charset="0"/>
                <a:ea typeface="Circe"/>
                <a:cs typeface="Times New Roman" panose="02020603050405020304" pitchFamily="18" charset="0"/>
              </a:rPr>
              <a:t>Распределение по способу аттестации СО </a:t>
            </a:r>
            <a:br>
              <a:rPr lang="ru-RU" altLang="ru-RU" sz="2400" b="1" dirty="0">
                <a:latin typeface="Times New Roman" panose="02020603050405020304" pitchFamily="18" charset="0"/>
                <a:ea typeface="Circe"/>
                <a:cs typeface="Times New Roman" panose="02020603050405020304" pitchFamily="18" charset="0"/>
              </a:rPr>
            </a:br>
            <a:r>
              <a:rPr lang="ru-RU" altLang="ru-RU" sz="2400" b="1" dirty="0">
                <a:latin typeface="Times New Roman" panose="02020603050405020304" pitchFamily="18" charset="0"/>
                <a:ea typeface="Circe"/>
                <a:cs typeface="Times New Roman" panose="02020603050405020304" pitchFamily="18" charset="0"/>
              </a:rPr>
              <a:t>для газодобывающей и газоперерабатывающей промышленности</a:t>
            </a:r>
            <a:br>
              <a:rPr lang="ru-RU" altLang="ru-RU" b="1" dirty="0">
                <a:solidFill>
                  <a:schemeClr val="accent4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о состоянию на 27.01.2025 г.)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255815B-AD1E-49D8-8E6F-989E26A7EBA1}" type="slidenum">
              <a:rPr lang="ru-RU" smtClean="0"/>
              <a:pPr>
                <a:defRPr/>
              </a:pPr>
              <a:t>12</a:t>
            </a:fld>
            <a:endParaRPr lang="ru-RU"/>
          </a:p>
        </p:txBody>
      </p:sp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85483242"/>
              </p:ext>
            </p:extLst>
          </p:nvPr>
        </p:nvGraphicFramePr>
        <p:xfrm>
          <a:off x="695400" y="1685217"/>
          <a:ext cx="10801200" cy="4392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927479938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ru-RU" sz="2400" b="1" dirty="0">
                <a:latin typeface="Times New Roman" panose="02020603050405020304" pitchFamily="18" charset="0"/>
                <a:ea typeface="Circe"/>
                <a:cs typeface="Times New Roman" panose="02020603050405020304" pitchFamily="18" charset="0"/>
                <a:sym typeface="Circe"/>
              </a:rPr>
              <a:t>СО утвержденные в 2024 г для области применения </a:t>
            </a:r>
            <a:br>
              <a:rPr lang="ru-RU" sz="2400" b="1" dirty="0">
                <a:latin typeface="Times New Roman" panose="02020603050405020304" pitchFamily="18" charset="0"/>
                <a:ea typeface="Circe"/>
                <a:cs typeface="Times New Roman" panose="02020603050405020304" pitchFamily="18" charset="0"/>
                <a:sym typeface="Circe"/>
              </a:rPr>
            </a:br>
            <a:r>
              <a:rPr lang="ru-RU" sz="2400" b="1" dirty="0">
                <a:latin typeface="Times New Roman" panose="02020603050405020304" pitchFamily="18" charset="0"/>
                <a:ea typeface="Circe"/>
                <a:cs typeface="Times New Roman" panose="02020603050405020304" pitchFamily="18" charset="0"/>
                <a:sym typeface="Circe"/>
              </a:rPr>
              <a:t>нефтяная и нефтеперерабатывающая промышленность</a:t>
            </a: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00022644"/>
              </p:ext>
            </p:extLst>
          </p:nvPr>
        </p:nvGraphicFramePr>
        <p:xfrm>
          <a:off x="406152" y="1268760"/>
          <a:ext cx="10947648" cy="52040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401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195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4879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2631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Номер ГСО </a:t>
                      </a:r>
                      <a:endParaRPr lang="ru-RU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Наименование</a:t>
                      </a:r>
                      <a:endParaRPr lang="ru-RU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</a:rPr>
                        <a:t>Производитель </a:t>
                      </a:r>
                      <a:endParaRPr lang="ru-RU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ГСО 12425-2024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О массовой доли золы (зольности) в нефтепродуктах (ЗЛ-0,1-ЭК)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200">
                          <a:effectLst/>
                        </a:rPr>
                        <a:t>ООО "ЭКРОСХИМ"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ГСО 12426-2024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О массовой доли золы (зольности) в нефтепродуктах (ЗЛ-0,02-ЭК)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200">
                          <a:effectLst/>
                        </a:rPr>
                        <a:t>ООО "ЭКРОСХИМ"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ГСО 12427-2024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О массовой доли золы (зольности) в нефтепродуктах (ЗЛ-0,003-ЭК)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200">
                          <a:effectLst/>
                        </a:rPr>
                        <a:t>ООО "ЭКРОСХИМ"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ГСО 12429-2024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О массовой доли серы в дизельном топливе (СДТ-М-ЭК)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200" dirty="0">
                          <a:effectLst/>
                        </a:rPr>
                        <a:t>ООО "ЭКРОСХИМ"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ГСО 12430-2024/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ГСО 12438-2024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О массовой доли серы в дизельном топливе (набор СДТ-ЭК)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200" dirty="0">
                          <a:effectLst/>
                        </a:rPr>
                        <a:t>ООО "ЭКРОСХИМ"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ГСО 12451-2024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О массовой доли висмута в минеральном масле (</a:t>
                      </a:r>
                      <a:r>
                        <a:rPr lang="ru-RU" sz="1200" dirty="0" err="1">
                          <a:effectLst/>
                        </a:rPr>
                        <a:t>Bi</a:t>
                      </a:r>
                      <a:r>
                        <a:rPr lang="ru-RU" sz="1200" dirty="0">
                          <a:effectLst/>
                        </a:rPr>
                        <a:t>-MC)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200" dirty="0">
                          <a:effectLst/>
                        </a:rPr>
                        <a:t>ООО "МЕДКОНСАЛТ"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ГСО 12455-2024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О массовой доли серы в нефтепродуктах (СО СН-ПА-4)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200" dirty="0">
                          <a:effectLst/>
                        </a:rPr>
                        <a:t>ООО "</a:t>
                      </a:r>
                      <a:r>
                        <a:rPr lang="ru-RU" sz="1200" dirty="0" err="1">
                          <a:effectLst/>
                        </a:rPr>
                        <a:t>Петроаналитика</a:t>
                      </a:r>
                      <a:r>
                        <a:rPr lang="ru-RU" sz="1200" dirty="0">
                          <a:effectLst/>
                        </a:rPr>
                        <a:t>"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ГСО 12479-2024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О детонационной стойкости (октанового числа) бензинов (ОЧ-92-ЭК)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200" dirty="0">
                          <a:effectLst/>
                        </a:rPr>
                        <a:t>ООО "ЭКРОСХИМ"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ГСО 12480-2024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О детонационной стойкости (октанового числа) бензинов (ОЧ-95-ЭК)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200" dirty="0">
                          <a:effectLst/>
                        </a:rPr>
                        <a:t>ООО "ЭКРОСХИМ"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ГСО 12481-2024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О детонационной стойкости (октанового числа) бензинов (ОЧ-98-ЭК)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200" dirty="0">
                          <a:effectLst/>
                        </a:rPr>
                        <a:t>ООО "ЭКРОСХИМ"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ГСО 12509-2024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О состава раствора палладия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200" dirty="0">
                          <a:effectLst/>
                        </a:rPr>
                        <a:t>ФГБУ "ВНИИОФИ"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ГСО 12524-2024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О открытой пористости и газопроницаемости горных пород (имитатор) (СО ОПГП 1 УНИИМ-КОРТЕХ)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200" dirty="0">
                          <a:effectLst/>
                        </a:rPr>
                        <a:t>УНИИМ - филиал ФГУП "ВНИИМ </a:t>
                      </a:r>
                      <a:r>
                        <a:rPr lang="ru-RU" sz="1200" dirty="0" err="1">
                          <a:effectLst/>
                        </a:rPr>
                        <a:t>им.Д.И</a:t>
                      </a:r>
                      <a:r>
                        <a:rPr lang="ru-RU" sz="1200" dirty="0">
                          <a:effectLst/>
                        </a:rPr>
                        <a:t>. Менделеева"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ГСО 12540-2024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О состава многокомпонентного раствора ароматических углеводородов (бензол, толуол, этилбензол, о-ксилол, м-ксилол, п-ксилол) (6ЛОС-ВНИИМ)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200" dirty="0">
                          <a:effectLst/>
                        </a:rPr>
                        <a:t>ФГУП "ВНИИМ </a:t>
                      </a:r>
                      <a:r>
                        <a:rPr lang="ru-RU" sz="1200" dirty="0" err="1">
                          <a:effectLst/>
                        </a:rPr>
                        <a:t>им.Д.И.Менделеева</a:t>
                      </a:r>
                      <a:r>
                        <a:rPr lang="ru-RU" sz="1200" dirty="0">
                          <a:effectLst/>
                        </a:rPr>
                        <a:t>"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ГСО 12541-2024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О состава многокомпонентного раствора ароматических углеводородов (бензол, толуол, этилбензол, о ксилол, м-ксилол, п-ксилол, </a:t>
                      </a:r>
                      <a:r>
                        <a:rPr lang="ru-RU" sz="1200" dirty="0" err="1">
                          <a:effectLst/>
                        </a:rPr>
                        <a:t>мезитилен</a:t>
                      </a:r>
                      <a:r>
                        <a:rPr lang="ru-RU" sz="1200" dirty="0">
                          <a:effectLst/>
                        </a:rPr>
                        <a:t>, кумол, </a:t>
                      </a:r>
                      <a:r>
                        <a:rPr lang="ru-RU" sz="1200" dirty="0" err="1">
                          <a:effectLst/>
                        </a:rPr>
                        <a:t>псевдокумол</a:t>
                      </a:r>
                      <a:r>
                        <a:rPr lang="ru-RU" sz="1200" dirty="0">
                          <a:effectLst/>
                        </a:rPr>
                        <a:t>) (9ЛОС-ВНИИМ)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200" dirty="0">
                          <a:effectLst/>
                        </a:rPr>
                        <a:t>ФГУП "ВНИИМ </a:t>
                      </a:r>
                      <a:r>
                        <a:rPr lang="ru-RU" sz="1200" dirty="0" err="1">
                          <a:effectLst/>
                        </a:rPr>
                        <a:t>им.Д.И.Менделеева</a:t>
                      </a:r>
                      <a:r>
                        <a:rPr lang="ru-RU" sz="1200" dirty="0">
                          <a:effectLst/>
                        </a:rPr>
                        <a:t>"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ГСО 12542-2024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О состава кумола (Км-ВНИИМ)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200" dirty="0">
                          <a:effectLst/>
                        </a:rPr>
                        <a:t>ФГУП "ВНИИМ </a:t>
                      </a:r>
                      <a:r>
                        <a:rPr lang="ru-RU" sz="1200" dirty="0" err="1">
                          <a:effectLst/>
                        </a:rPr>
                        <a:t>им.Д.И.Менделеева</a:t>
                      </a:r>
                      <a:r>
                        <a:rPr lang="ru-RU" sz="1200" dirty="0">
                          <a:effectLst/>
                        </a:rPr>
                        <a:t>"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ГСО 12543-2024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О состава </a:t>
                      </a:r>
                      <a:r>
                        <a:rPr lang="ru-RU" sz="1200" dirty="0" err="1">
                          <a:effectLst/>
                        </a:rPr>
                        <a:t>псевдокумола</a:t>
                      </a:r>
                      <a:r>
                        <a:rPr lang="ru-RU" sz="1200" dirty="0">
                          <a:effectLst/>
                        </a:rPr>
                        <a:t> (</a:t>
                      </a:r>
                      <a:r>
                        <a:rPr lang="ru-RU" sz="1200" dirty="0" err="1">
                          <a:effectLst/>
                        </a:rPr>
                        <a:t>псКм</a:t>
                      </a:r>
                      <a:r>
                        <a:rPr lang="ru-RU" sz="1200" dirty="0">
                          <a:effectLst/>
                        </a:rPr>
                        <a:t>-ВНИИМ)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200" dirty="0">
                          <a:effectLst/>
                        </a:rPr>
                        <a:t>ФГУП "ВНИИМ </a:t>
                      </a:r>
                      <a:r>
                        <a:rPr lang="ru-RU" sz="1200" dirty="0" err="1">
                          <a:effectLst/>
                        </a:rPr>
                        <a:t>им.Д.И.Менделеева</a:t>
                      </a:r>
                      <a:r>
                        <a:rPr lang="ru-RU" sz="1200" dirty="0">
                          <a:effectLst/>
                        </a:rPr>
                        <a:t>"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2209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ГСО 12569-2024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О массовой доли воды в органической жидкости (ВФ-01-СХ)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200" dirty="0">
                          <a:effectLst/>
                        </a:rPr>
                        <a:t>ООО "</a:t>
                      </a:r>
                      <a:r>
                        <a:rPr lang="ru-RU" sz="1200" dirty="0" err="1">
                          <a:effectLst/>
                        </a:rPr>
                        <a:t>СпектроХим</a:t>
                      </a:r>
                      <a:r>
                        <a:rPr lang="ru-RU" sz="1200" dirty="0">
                          <a:effectLst/>
                        </a:rPr>
                        <a:t>"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ГСО 12570-2024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О массовой доли воды в органической жидкости (ВФ-02-СХ)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200" dirty="0">
                          <a:effectLst/>
                        </a:rPr>
                        <a:t>ООО "</a:t>
                      </a:r>
                      <a:r>
                        <a:rPr lang="ru-RU" sz="1200" dirty="0" err="1">
                          <a:effectLst/>
                        </a:rPr>
                        <a:t>СпектроХим</a:t>
                      </a:r>
                      <a:r>
                        <a:rPr lang="ru-RU" sz="1200" dirty="0">
                          <a:effectLst/>
                        </a:rPr>
                        <a:t>"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ГСО 12571-2024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О массовой доли воды в органической жидкости (ВФ-03-СХ)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200" dirty="0">
                          <a:effectLst/>
                        </a:rPr>
                        <a:t>ООО "</a:t>
                      </a:r>
                      <a:r>
                        <a:rPr lang="ru-RU" sz="1200" dirty="0" err="1">
                          <a:effectLst/>
                        </a:rPr>
                        <a:t>СпектроХим</a:t>
                      </a:r>
                      <a:r>
                        <a:rPr lang="ru-RU" sz="1200" dirty="0">
                          <a:effectLst/>
                        </a:rPr>
                        <a:t>"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255815B-AD1E-49D8-8E6F-989E26A7EBA1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3385240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ru-RU" sz="2400" b="1" dirty="0">
                <a:latin typeface="Times New Roman" panose="02020603050405020304" pitchFamily="18" charset="0"/>
                <a:ea typeface="Circe"/>
                <a:cs typeface="Times New Roman" panose="02020603050405020304" pitchFamily="18" charset="0"/>
                <a:sym typeface="Circe"/>
              </a:rPr>
              <a:t>СО утвержденные в 2024 г для области применения </a:t>
            </a:r>
            <a:br>
              <a:rPr lang="ru-RU" sz="2400" b="1" dirty="0">
                <a:latin typeface="Times New Roman" panose="02020603050405020304" pitchFamily="18" charset="0"/>
                <a:ea typeface="Circe"/>
                <a:cs typeface="Times New Roman" panose="02020603050405020304" pitchFamily="18" charset="0"/>
                <a:sym typeface="Circe"/>
              </a:rPr>
            </a:br>
            <a:r>
              <a:rPr lang="ru-RU" sz="2400" b="1" dirty="0">
                <a:latin typeface="Times New Roman" panose="02020603050405020304" pitchFamily="18" charset="0"/>
                <a:ea typeface="Circe"/>
                <a:cs typeface="Times New Roman" panose="02020603050405020304" pitchFamily="18" charset="0"/>
                <a:sym typeface="Circe"/>
              </a:rPr>
              <a:t>нефтяная и нефтеперерабатывающая промышленность</a:t>
            </a: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05699981"/>
              </p:ext>
            </p:extLst>
          </p:nvPr>
        </p:nvGraphicFramePr>
        <p:xfrm>
          <a:off x="371364" y="1484784"/>
          <a:ext cx="11449271" cy="458495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061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953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77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2631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Номер ГСО 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Наименование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Производитель 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ГСО</a:t>
                      </a:r>
                      <a:r>
                        <a:rPr lang="ru-RU" sz="1400" baseline="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12572-2024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О массовой доли воды в органической жидкости (ВФ-04-СХ)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ООО "СпектроХим"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ГСО 12711-2024/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ГСО 12715-2024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О открытой пористости и газопроницаемости горных пород (имитаторы) (набор СО ПГ)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УНИИМ - филиал ФГУП "ВНИИМ им.Д.И. Менделеева"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ГСО 12735-2024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О состава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моноэтаноламин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 (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Мэ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-ВНИИМ)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ФГУП "ВНИИМ им.Д.И.Менделеева"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ГСО 12739-2024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О изотопного состава этанола (кукуруза)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ФГУП "ВНИИМ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им.Д.И.Менделеев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"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ГСО 12740-2024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О изотопного состава этанола (пшеница)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ФГУП "ВНИИМ им.Д.И.Менделеева"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ГСО 12741-2024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О изотопного состава этанола (свекла сахарная)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ФГУП "ВНИИМ им.Д.И.Менделеева"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ГСО 12742-2024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О изотопного состава этанола синтетического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ФГУП "ВНИИМ им.Д.И.Менделеева"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ГСО 12746-2024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О удельной электрической проводимости жидкости (УЭП-10)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ФГУП "ВНИИМ им.Д.И.Менделеева"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ГСО 12765-2024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О давления насыщенных паров нефти (СО ДНПН-НИИТН)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ООО "НИИ Транснефть"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ГСО 12766-2024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О массовой доли механических примесей в нефти (СО МПН-НИИТН)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ООО "НИИ Транснефть"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ГСО 12767-2024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О плотности нефти (СО ПН-НИИТН)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ООО "НИИ Транснефть"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ГСО 12768-2024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О массовой доли серы в нефти (СО СН-НИИТН)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ООО "НИИ Транснефть"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ГСО 12769-2024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О фракционного состава нефти (СО ФСН-НИИТН)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ООО "НИИ Транснефть"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ГСО 12770-2024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О массовых долей органических хлоридов и парафинов в нефти (СО ХОСПН-НИИТН)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ООО "НИИ Транснефть"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2209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ГСО 12771-2024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О массовой концентрации хлористых солей и массовой доли воды в нефти (СО ХСВН-НИИТН)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ООО "НИИ Транснефть"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26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ГСО 12790-2024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О давления насыщенных паров нефти и нефтепродуктов (ДНП-100-ЭК)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ООО "ЭКРОСХИМ"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255815B-AD1E-49D8-8E6F-989E26A7EBA1}" type="slidenum">
              <a:rPr lang="ru-RU" smtClean="0"/>
              <a:pPr>
                <a:defRPr/>
              </a:pPr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3084132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ru-RU" sz="2400" b="1" dirty="0">
                <a:latin typeface="Times New Roman" panose="02020603050405020304" pitchFamily="18" charset="0"/>
                <a:ea typeface="Circe"/>
                <a:cs typeface="Times New Roman" panose="02020603050405020304" pitchFamily="18" charset="0"/>
              </a:rPr>
              <a:t>СО утвержденные в 2024 г для области применения </a:t>
            </a:r>
            <a:br>
              <a:rPr lang="ru-RU" sz="2400" b="1" dirty="0">
                <a:latin typeface="Times New Roman" panose="02020603050405020304" pitchFamily="18" charset="0"/>
                <a:ea typeface="Circe"/>
                <a:cs typeface="Times New Roman" panose="02020603050405020304" pitchFamily="18" charset="0"/>
              </a:rPr>
            </a:br>
            <a:r>
              <a:rPr lang="ru-RU" sz="2400" b="1" dirty="0">
                <a:latin typeface="Times New Roman" panose="02020603050405020304" pitchFamily="18" charset="0"/>
                <a:ea typeface="Circe"/>
                <a:cs typeface="Times New Roman" panose="02020603050405020304" pitchFamily="18" charset="0"/>
              </a:rPr>
              <a:t>газовая промышленност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255815B-AD1E-49D8-8E6F-989E26A7EBA1}" type="slidenum">
              <a:rPr lang="ru-RU" smtClean="0"/>
              <a:pPr>
                <a:defRPr/>
              </a:pPr>
              <a:t>15</a:t>
            </a:fld>
            <a:endParaRPr lang="ru-RU"/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56303573"/>
              </p:ext>
            </p:extLst>
          </p:nvPr>
        </p:nvGraphicFramePr>
        <p:xfrm>
          <a:off x="407368" y="1484784"/>
          <a:ext cx="11377264" cy="179451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722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127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922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0289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мер ГСО 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7874" marR="3787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7874" marR="3787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итель 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7874" marR="37874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579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ГСО 12417-2024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О изотопного состава криптона (ИСК-ВНИИМ-ЭС)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ФГУП "ВНИИМ им.Д.И.Менделеева"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579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ГСО 12445-2024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О </a:t>
                      </a:r>
                      <a:r>
                        <a:rPr lang="ru-RU" sz="18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остава искусственной газовой смеси, содержащей метан </a:t>
                      </a: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(СН</a:t>
                      </a:r>
                      <a:r>
                        <a:rPr lang="ru-RU" sz="1600" baseline="-250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4</a:t>
                      </a: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-ГТТ-1)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ООО "Газпром трансгаз Томск"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579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ГСО 12735-2024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О состава </a:t>
                      </a:r>
                      <a:r>
                        <a:rPr lang="ru-RU" sz="1600" dirty="0" err="1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моноэтаноламина</a:t>
                      </a: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 (</a:t>
                      </a:r>
                      <a:r>
                        <a:rPr lang="ru-RU" sz="1600" dirty="0" err="1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Мэа</a:t>
                      </a: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-ВНИИМ) 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ФГУП "ВНИИМ </a:t>
                      </a:r>
                      <a:r>
                        <a:rPr lang="ru-RU" sz="1600" dirty="0" err="1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им.Д.И.Менделеева</a:t>
                      </a: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"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5245940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Номер слайда 2"/>
          <p:cNvSpPr txBox="1">
            <a:spLocks noGrp="1"/>
          </p:cNvSpPr>
          <p:nvPr/>
        </p:nvSpPr>
        <p:spPr bwMode="auto">
          <a:xfrm>
            <a:off x="11770325" y="6417817"/>
            <a:ext cx="322515" cy="366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5456" tIns="27727" rIns="55456" bIns="27727" anchor="ctr"/>
          <a:lstStyle>
            <a:lvl1pPr defTabSz="912813">
              <a:defRPr>
                <a:solidFill>
                  <a:srgbClr val="000000"/>
                </a:solidFill>
                <a:latin typeface="Arial" panose="020B0604020202020204" pitchFamily="34" charset="0"/>
                <a:sym typeface="Calibri" panose="020F0502020204030204" pitchFamily="34" charset="0"/>
              </a:defRPr>
            </a:lvl1pPr>
            <a:lvl2pPr marL="741363" indent="-282575" defTabSz="912813">
              <a:defRPr>
                <a:solidFill>
                  <a:srgbClr val="000000"/>
                </a:solidFill>
                <a:latin typeface="Arial" panose="020B0604020202020204" pitchFamily="34" charset="0"/>
                <a:sym typeface="Calibri" panose="020F0502020204030204" pitchFamily="34" charset="0"/>
              </a:defRPr>
            </a:lvl2pPr>
            <a:lvl3pPr marL="1143000" indent="-230188" defTabSz="912813">
              <a:defRPr>
                <a:solidFill>
                  <a:srgbClr val="000000"/>
                </a:solidFill>
                <a:latin typeface="Arial" panose="020B0604020202020204" pitchFamily="34" charset="0"/>
                <a:sym typeface="Calibri" panose="020F0502020204030204" pitchFamily="34" charset="0"/>
              </a:defRPr>
            </a:lvl3pPr>
            <a:lvl4pPr marL="1601788" indent="-230188" defTabSz="912813">
              <a:defRPr>
                <a:solidFill>
                  <a:srgbClr val="000000"/>
                </a:solidFill>
                <a:latin typeface="Arial" panose="020B0604020202020204" pitchFamily="34" charset="0"/>
                <a:sym typeface="Calibri" panose="020F0502020204030204" pitchFamily="34" charset="0"/>
              </a:defRPr>
            </a:lvl4pPr>
            <a:lvl5pPr marL="2055813" indent="-227013" defTabSz="912813">
              <a:defRPr>
                <a:solidFill>
                  <a:srgbClr val="000000"/>
                </a:solidFill>
                <a:latin typeface="Arial" panose="020B0604020202020204" pitchFamily="34" charset="0"/>
                <a:sym typeface="Calibri" panose="020F0502020204030204" pitchFamily="34" charset="0"/>
              </a:defRPr>
            </a:lvl5pPr>
            <a:lvl6pPr marL="2513013" indent="-227013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sym typeface="Calibri" panose="020F0502020204030204" pitchFamily="34" charset="0"/>
              </a:defRPr>
            </a:lvl6pPr>
            <a:lvl7pPr marL="2970213" indent="-227013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sym typeface="Calibri" panose="020F0502020204030204" pitchFamily="34" charset="0"/>
              </a:defRPr>
            </a:lvl7pPr>
            <a:lvl8pPr marL="3427413" indent="-227013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sym typeface="Calibri" panose="020F0502020204030204" pitchFamily="34" charset="0"/>
              </a:defRPr>
            </a:lvl8pPr>
            <a:lvl9pPr marL="3884613" indent="-227013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sym typeface="Calibri" panose="020F0502020204030204" pitchFamily="34" charset="0"/>
              </a:defRPr>
            </a:lvl9pPr>
          </a:lstStyle>
          <a:p>
            <a:pPr algn="r" eaLnBrk="1"/>
            <a:fld id="{B5D8A4A8-CE74-4A45-BF1C-37B8AD76EC5D}" type="slidenum">
              <a:rPr lang="ru-RU" altLang="ru-RU" sz="1200">
                <a:solidFill>
                  <a:srgbClr val="898989"/>
                </a:solidFill>
                <a:latin typeface="Calibri Light" panose="020F0302020204030204" pitchFamily="34" charset="0"/>
              </a:rPr>
              <a:pPr algn="r" eaLnBrk="1"/>
              <a:t>16</a:t>
            </a:fld>
            <a:endParaRPr lang="ru-RU" altLang="ru-RU" sz="1200">
              <a:solidFill>
                <a:srgbClr val="898989"/>
              </a:solidFill>
              <a:latin typeface="Calibri Light" panose="020F0302020204030204" pitchFamily="34" charset="0"/>
            </a:endParaRPr>
          </a:p>
        </p:txBody>
      </p:sp>
      <p:sp>
        <p:nvSpPr>
          <p:cNvPr id="15363" name="Rectangle 3"/>
          <p:cNvSpPr>
            <a:spLocks noChangeArrowheads="1"/>
          </p:cNvSpPr>
          <p:nvPr/>
        </p:nvSpPr>
        <p:spPr bwMode="auto">
          <a:xfrm>
            <a:off x="550696" y="1885499"/>
            <a:ext cx="6409400" cy="4187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5458" tIns="27729" rIns="55458" bIns="27729" anchor="ctr">
            <a:spAutoFit/>
          </a:bodyPr>
          <a:lstStyle>
            <a:lvl1pPr indent="201613">
              <a:defRPr>
                <a:solidFill>
                  <a:srgbClr val="000000"/>
                </a:solidFill>
                <a:latin typeface="Arial" panose="020B060402020202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Arial" panose="020B060402020202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Arial" panose="020B060402020202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Arial" panose="020B060402020202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Arial" panose="020B060402020202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sym typeface="Calibri" panose="020F0502020204030204" pitchFamily="34" charset="0"/>
              </a:defRPr>
            </a:lvl9pPr>
          </a:lstStyle>
          <a:p>
            <a:pPr indent="0">
              <a:lnSpc>
                <a:spcPct val="110000"/>
              </a:lnSpc>
              <a:defRPr/>
            </a:pPr>
            <a:r>
              <a:rPr lang="ru-RU" sz="1500" b="1" dirty="0">
                <a:solidFill>
                  <a:srgbClr val="9A1629"/>
                </a:solidFill>
                <a:cs typeface="Arial" panose="020B0604020202020204" pitchFamily="34" charset="0"/>
              </a:rPr>
              <a:t>Планируемые к разработке СО</a:t>
            </a:r>
          </a:p>
          <a:p>
            <a:pPr indent="0"/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СО состава </a:t>
            </a:r>
            <a:r>
              <a:rPr lang="ru-RU" sz="1400" b="1" dirty="0">
                <a:ea typeface="Calibri" panose="020F0502020204030204" pitchFamily="34" charset="0"/>
                <a:cs typeface="Arial" panose="020B0604020202020204" pitchFamily="34" charset="0"/>
              </a:rPr>
              <a:t>летучих органических соединений – </a:t>
            </a:r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10 типов</a:t>
            </a:r>
          </a:p>
          <a:p>
            <a:pPr indent="0"/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СО состава </a:t>
            </a:r>
            <a:r>
              <a:rPr lang="ru-RU" sz="1400" b="1" dirty="0" err="1">
                <a:ea typeface="Calibri" panose="020F0502020204030204" pitchFamily="34" charset="0"/>
                <a:cs typeface="Arial" panose="020B0604020202020204" pitchFamily="34" charset="0"/>
              </a:rPr>
              <a:t>алкилкарбонатов</a:t>
            </a:r>
            <a:r>
              <a:rPr lang="ru-RU" sz="1400" b="1" dirty="0">
                <a:ea typeface="Calibri" panose="020F0502020204030204" pitchFamily="34" charset="0"/>
                <a:cs typeface="Arial" panose="020B0604020202020204" pitchFamily="34" charset="0"/>
              </a:rPr>
              <a:t> – </a:t>
            </a:r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6 типов</a:t>
            </a:r>
          </a:p>
          <a:p>
            <a:pPr indent="0"/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СО состава </a:t>
            </a:r>
            <a:r>
              <a:rPr lang="ru-RU" sz="1400" b="1" dirty="0">
                <a:ea typeface="Calibri" panose="020F0502020204030204" pitchFamily="34" charset="0"/>
                <a:cs typeface="Arial" panose="020B0604020202020204" pitchFamily="34" charset="0"/>
              </a:rPr>
              <a:t>искусственных подсластителей – </a:t>
            </a:r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5 типов</a:t>
            </a:r>
          </a:p>
          <a:p>
            <a:pPr indent="0"/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СО состава </a:t>
            </a:r>
            <a:r>
              <a:rPr lang="ru-RU" sz="1400" b="1" dirty="0">
                <a:ea typeface="Calibri" panose="020F0502020204030204" pitchFamily="34" charset="0"/>
                <a:cs typeface="Arial" panose="020B0604020202020204" pitchFamily="34" charset="0"/>
              </a:rPr>
              <a:t>пестицидов</a:t>
            </a:r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 (азотсодержащих, </a:t>
            </a:r>
            <a:r>
              <a:rPr lang="ru-RU" sz="1400" dirty="0" err="1">
                <a:ea typeface="Calibri" panose="020F0502020204030204" pitchFamily="34" charset="0"/>
                <a:cs typeface="Arial" panose="020B0604020202020204" pitchFamily="34" charset="0"/>
              </a:rPr>
              <a:t>пиретроидов</a:t>
            </a:r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ea typeface="Calibri" panose="020F0502020204030204" pitchFamily="34" charset="0"/>
                <a:cs typeface="Arial" panose="020B0604020202020204" pitchFamily="34" charset="0"/>
              </a:rPr>
              <a:t>неоникатиноидов</a:t>
            </a:r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)  - 17 типов </a:t>
            </a:r>
          </a:p>
          <a:p>
            <a:pPr indent="0"/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СО состава </a:t>
            </a:r>
            <a:r>
              <a:rPr lang="ru-RU" sz="1400" b="1" dirty="0">
                <a:ea typeface="Calibri" panose="020F0502020204030204" pitchFamily="34" charset="0"/>
                <a:cs typeface="Arial" panose="020B0604020202020204" pitchFamily="34" charset="0"/>
              </a:rPr>
              <a:t>органических кислот </a:t>
            </a:r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– 4 типа</a:t>
            </a:r>
          </a:p>
          <a:p>
            <a:pPr indent="0"/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СО состава </a:t>
            </a:r>
            <a:r>
              <a:rPr lang="ru-RU" sz="1400" b="1" dirty="0" err="1">
                <a:ea typeface="Calibri" panose="020F0502020204030204" pitchFamily="34" charset="0"/>
                <a:cs typeface="Arial" panose="020B0604020202020204" pitchFamily="34" charset="0"/>
              </a:rPr>
              <a:t>нитрозоаминов</a:t>
            </a:r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 – 4 типа</a:t>
            </a:r>
          </a:p>
          <a:p>
            <a:pPr indent="0"/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СО состава прочих органических компонентов – 2 типа</a:t>
            </a:r>
          </a:p>
          <a:p>
            <a:pPr indent="0"/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СО </a:t>
            </a:r>
            <a:r>
              <a:rPr lang="ru-RU" sz="1400" b="1" dirty="0">
                <a:ea typeface="Calibri" panose="020F0502020204030204" pitchFamily="34" charset="0"/>
                <a:cs typeface="Arial" panose="020B0604020202020204" pitchFamily="34" charset="0"/>
              </a:rPr>
              <a:t>изотопного состава </a:t>
            </a:r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углерода, кислорода, водорода – 9 типов</a:t>
            </a:r>
          </a:p>
          <a:p>
            <a:pPr indent="0"/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СО состава </a:t>
            </a:r>
            <a:r>
              <a:rPr lang="ru-RU" sz="1400" b="1" dirty="0">
                <a:ea typeface="Calibri" panose="020F0502020204030204" pitchFamily="34" charset="0"/>
                <a:cs typeface="Arial" panose="020B0604020202020204" pitchFamily="34" charset="0"/>
              </a:rPr>
              <a:t>газовых смесей </a:t>
            </a:r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в баллонах под давлением – 6 типов</a:t>
            </a:r>
          </a:p>
          <a:p>
            <a:pPr indent="0"/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СО состава </a:t>
            </a:r>
            <a:r>
              <a:rPr lang="ru-RU" sz="1400" b="1" dirty="0">
                <a:ea typeface="Calibri" panose="020F0502020204030204" pitchFamily="34" charset="0"/>
                <a:cs typeface="Arial" panose="020B0604020202020204" pitchFamily="34" charset="0"/>
              </a:rPr>
              <a:t>ДНК</a:t>
            </a:r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 – 6 типов</a:t>
            </a:r>
          </a:p>
          <a:p>
            <a:pPr indent="0"/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СО </a:t>
            </a:r>
            <a:r>
              <a:rPr lang="ru-RU" sz="1400" b="1" dirty="0">
                <a:ea typeface="Calibri" panose="020F0502020204030204" pitchFamily="34" charset="0"/>
                <a:cs typeface="Arial" panose="020B0604020202020204" pitchFamily="34" charset="0"/>
              </a:rPr>
              <a:t>удельной электрической проводимости </a:t>
            </a:r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жидкостей – 8 типов</a:t>
            </a:r>
          </a:p>
          <a:p>
            <a:pPr indent="0"/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СО состава </a:t>
            </a:r>
            <a:r>
              <a:rPr lang="ru-RU" sz="1400" b="1" dirty="0">
                <a:ea typeface="Calibri" panose="020F0502020204030204" pitchFamily="34" charset="0"/>
                <a:cs typeface="Arial" panose="020B0604020202020204" pitchFamily="34" charset="0"/>
              </a:rPr>
              <a:t>неорганических элементов, ионов и компонентов </a:t>
            </a:r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– 32 типов</a:t>
            </a:r>
          </a:p>
          <a:p>
            <a:pPr indent="0"/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СО состава </a:t>
            </a:r>
            <a:r>
              <a:rPr lang="ru-RU" sz="1400" b="1" dirty="0">
                <a:ea typeface="Calibri" panose="020F0502020204030204" pitchFamily="34" charset="0"/>
                <a:cs typeface="Arial" panose="020B0604020202020204" pitchFamily="34" charset="0"/>
              </a:rPr>
              <a:t>водной суспензии черного углерода</a:t>
            </a:r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 (комплект) -  1 тип</a:t>
            </a:r>
          </a:p>
          <a:p>
            <a:pPr indent="0"/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СО состава и свойств </a:t>
            </a:r>
            <a:r>
              <a:rPr lang="ru-RU" sz="1400" b="1" dirty="0">
                <a:ea typeface="Calibri" panose="020F0502020204030204" pitchFamily="34" charset="0"/>
                <a:cs typeface="Arial" panose="020B0604020202020204" pitchFamily="34" charset="0"/>
              </a:rPr>
              <a:t>для фотометрии/</a:t>
            </a:r>
            <a:r>
              <a:rPr lang="ru-RU" sz="1400" b="1" dirty="0" err="1">
                <a:ea typeface="Calibri" panose="020F0502020204030204" pitchFamily="34" charset="0"/>
                <a:cs typeface="Arial" panose="020B0604020202020204" pitchFamily="34" charset="0"/>
              </a:rPr>
              <a:t>спектрофотометрии</a:t>
            </a:r>
            <a:r>
              <a:rPr lang="ru-RU" sz="1400" b="1" dirty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– 4 типа</a:t>
            </a:r>
          </a:p>
          <a:p>
            <a:pPr indent="0"/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СО состава </a:t>
            </a:r>
            <a:r>
              <a:rPr lang="ru-RU" sz="1400" b="1" dirty="0">
                <a:ea typeface="Calibri" panose="020F0502020204030204" pitchFamily="34" charset="0"/>
                <a:cs typeface="Arial" panose="020B0604020202020204" pitchFamily="34" charset="0"/>
              </a:rPr>
              <a:t>биохимических материалов </a:t>
            </a:r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– 13 типов</a:t>
            </a:r>
          </a:p>
          <a:p>
            <a:pPr indent="0"/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СО состава прочих компонентов – 2 типа</a:t>
            </a:r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7191982" y="2089760"/>
            <a:ext cx="4752528" cy="31260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5458" tIns="27729" rIns="55458" bIns="27729" anchor="ctr">
            <a:spAutoFit/>
          </a:bodyPr>
          <a:lstStyle>
            <a:lvl1pPr indent="201613">
              <a:defRPr>
                <a:solidFill>
                  <a:srgbClr val="000000"/>
                </a:solidFill>
                <a:latin typeface="Arial" panose="020B060402020202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Arial" panose="020B060402020202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Arial" panose="020B060402020202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Arial" panose="020B060402020202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Arial" panose="020B060402020202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sym typeface="Calibri" panose="020F0502020204030204" pitchFamily="34" charset="0"/>
              </a:defRPr>
            </a:lvl9pPr>
          </a:lstStyle>
          <a:p>
            <a:pPr indent="0">
              <a:lnSpc>
                <a:spcPct val="110000"/>
              </a:lnSpc>
              <a:defRPr/>
            </a:pPr>
            <a:r>
              <a:rPr lang="ru-RU" sz="1500" b="1" dirty="0">
                <a:solidFill>
                  <a:srgbClr val="9A1629"/>
                </a:solidFill>
                <a:cs typeface="Arial" panose="020B0604020202020204" pitchFamily="34" charset="0"/>
              </a:rPr>
              <a:t>Планируемые к разработке меры</a:t>
            </a:r>
          </a:p>
          <a:p>
            <a:pPr indent="0"/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Меры </a:t>
            </a:r>
            <a:r>
              <a:rPr lang="ru-RU" sz="1400" b="1" dirty="0">
                <a:ea typeface="Calibri" panose="020F0502020204030204" pitchFamily="34" charset="0"/>
                <a:cs typeface="Arial" panose="020B0604020202020204" pitchFamily="34" charset="0"/>
              </a:rPr>
              <a:t>размеров частиц в водной среде </a:t>
            </a:r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– 10 типов</a:t>
            </a:r>
          </a:p>
          <a:p>
            <a:pPr indent="0"/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Меры </a:t>
            </a:r>
            <a:r>
              <a:rPr lang="ru-RU" sz="1400" b="1" dirty="0" err="1">
                <a:ea typeface="Calibri" panose="020F0502020204030204" pitchFamily="34" charset="0"/>
                <a:cs typeface="Arial" panose="020B0604020202020204" pitchFamily="34" charset="0"/>
              </a:rPr>
              <a:t>дзета</a:t>
            </a:r>
            <a:r>
              <a:rPr lang="ru-RU" sz="1400" b="1" dirty="0">
                <a:ea typeface="Calibri" panose="020F0502020204030204" pitchFamily="34" charset="0"/>
                <a:cs typeface="Arial" panose="020B0604020202020204" pitchFamily="34" charset="0"/>
              </a:rPr>
              <a:t>-потенциала частиц в жидкости </a:t>
            </a:r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– 6 типов</a:t>
            </a:r>
          </a:p>
          <a:p>
            <a:pPr indent="0"/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Меры </a:t>
            </a:r>
            <a:r>
              <a:rPr lang="ru-RU" sz="1400" b="1" dirty="0">
                <a:ea typeface="Calibri" panose="020F0502020204030204" pitchFamily="34" charset="0"/>
                <a:cs typeface="Arial" panose="020B0604020202020204" pitchFamily="34" charset="0"/>
              </a:rPr>
              <a:t>счетной концентрации частиц в воде </a:t>
            </a:r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– 10 типов</a:t>
            </a:r>
          </a:p>
          <a:p>
            <a:pPr indent="0"/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Меры </a:t>
            </a:r>
            <a:r>
              <a:rPr lang="ru-RU" sz="1400" b="1" dirty="0">
                <a:ea typeface="Calibri" panose="020F0502020204030204" pitchFamily="34" charset="0"/>
                <a:cs typeface="Arial" panose="020B0604020202020204" pitchFamily="34" charset="0"/>
              </a:rPr>
              <a:t>счетной концентрации частиц в масле </a:t>
            </a:r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– 11 типов</a:t>
            </a:r>
          </a:p>
          <a:p>
            <a:pPr indent="0"/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Меры </a:t>
            </a:r>
            <a:r>
              <a:rPr lang="ru-RU" sz="1400" b="1" dirty="0">
                <a:ea typeface="Calibri" panose="020F0502020204030204" pitchFamily="34" charset="0"/>
                <a:cs typeface="Arial" panose="020B0604020202020204" pitchFamily="34" charset="0"/>
              </a:rPr>
              <a:t>для фотометрии/</a:t>
            </a:r>
            <a:r>
              <a:rPr lang="ru-RU" sz="1400" b="1" dirty="0" err="1">
                <a:ea typeface="Calibri" panose="020F0502020204030204" pitchFamily="34" charset="0"/>
                <a:cs typeface="Arial" panose="020B0604020202020204" pitchFamily="34" charset="0"/>
              </a:rPr>
              <a:t>спектрофотометрии</a:t>
            </a:r>
            <a:r>
              <a:rPr lang="ru-RU" sz="1400" b="1" dirty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(</a:t>
            </a:r>
            <a:r>
              <a:rPr lang="ru-RU" sz="1200" dirty="0">
                <a:ea typeface="Calibri" panose="020F0502020204030204" pitchFamily="34" charset="0"/>
                <a:cs typeface="Arial" panose="020B0604020202020204" pitchFamily="34" charset="0"/>
              </a:rPr>
              <a:t>оптической плотности, волновых чисел </a:t>
            </a:r>
            <a:r>
              <a:rPr lang="ru-RU" sz="1200" dirty="0" err="1">
                <a:ea typeface="Calibri" panose="020F0502020204030204" pitchFamily="34" charset="0"/>
                <a:cs typeface="Arial" panose="020B0604020202020204" pitchFamily="34" charset="0"/>
              </a:rPr>
              <a:t>рамановских</a:t>
            </a:r>
            <a:r>
              <a:rPr lang="ru-RU" sz="1200" dirty="0">
                <a:ea typeface="Calibri" panose="020F0502020204030204" pitchFamily="34" charset="0"/>
                <a:cs typeface="Arial" panose="020B0604020202020204" pitchFamily="34" charset="0"/>
              </a:rPr>
              <a:t> сдвигов, длин волн и интенсивности флуоресценции)</a:t>
            </a:r>
            <a:r>
              <a:rPr lang="ru-RU" sz="1500" dirty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– 4 типа</a:t>
            </a:r>
          </a:p>
          <a:p>
            <a:pPr indent="0"/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Меры </a:t>
            </a:r>
            <a:r>
              <a:rPr lang="ru-RU" sz="1400" b="1" dirty="0">
                <a:ea typeface="Calibri" panose="020F0502020204030204" pitchFamily="34" charset="0"/>
                <a:cs typeface="Arial" panose="020B0604020202020204" pitchFamily="34" charset="0"/>
              </a:rPr>
              <a:t>для микроэлектроники </a:t>
            </a:r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(толщины оптических покрытий) – 2 типа</a:t>
            </a:r>
          </a:p>
          <a:p>
            <a:pPr indent="0"/>
            <a:endParaRPr lang="ru-RU" sz="1400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0">
              <a:spcAft>
                <a:spcPts val="728"/>
              </a:spcAft>
            </a:pPr>
            <a:r>
              <a:rPr lang="ru-RU" sz="1400" b="1" dirty="0">
                <a:solidFill>
                  <a:srgbClr val="9A1629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Итого – 43 типа СИ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787584" y="745633"/>
            <a:ext cx="113052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/>
              <a:t>Цель - разработка и выпуск комплексов СО и мер для удовлетворения потребностей народного хозяйства (пищевая и легкая промышленность, нефтехимия, агропромышленный комплекс, охрана окружающей среды и т.д.) в различных областях измерений и достижение на этой основе технологического (метрологического) суверенитета РФ. </a:t>
            </a: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634383" y="140439"/>
            <a:ext cx="11018440" cy="504056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004E6B"/>
                </a:solidFill>
                <a:latin typeface="Circe Bold" panose="020B0602020203020203" pitchFamily="34" charset="-52"/>
                <a:ea typeface="+mj-ea"/>
                <a:cs typeface="+mj-cs"/>
              </a:defRPr>
            </a:lvl1pPr>
          </a:lstStyle>
          <a:p>
            <a:r>
              <a:rPr lang="ru-RU" sz="2200" b="1" cap="all" dirty="0">
                <a:latin typeface="Arial" panose="020B0604020202020204" pitchFamily="34" charset="0"/>
                <a:cs typeface="Arial" panose="020B0604020202020204" pitchFamily="34" charset="0"/>
              </a:rPr>
              <a:t>ОКР </a:t>
            </a: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  <a:sym typeface="Circe Light"/>
              </a:rPr>
              <a:t>«Суверенитет». </a:t>
            </a:r>
            <a:r>
              <a:rPr lang="ru-RU" sz="2200" b="1" dirty="0">
                <a:latin typeface="Arial" panose="020B0604020202020204" pitchFamily="34" charset="0"/>
                <a:cs typeface="Arial" panose="020B0604020202020204" pitchFamily="34" charset="0"/>
              </a:rPr>
              <a:t>Цель и планируемые результаты</a:t>
            </a:r>
            <a:br>
              <a:rPr lang="ru-RU" sz="2200" b="1" cap="all" dirty="0"/>
            </a:br>
            <a:endParaRPr lang="ru-RU" sz="2200" b="1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553410" y="5720782"/>
            <a:ext cx="10225824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0"/>
            <a:endParaRPr lang="ru-RU" sz="1600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0">
              <a:spcAft>
                <a:spcPts val="728"/>
              </a:spcAft>
            </a:pPr>
            <a:r>
              <a:rPr lang="ru-RU" b="1" dirty="0">
                <a:solidFill>
                  <a:srgbClr val="9A1629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Итого – 138 новых типов СО, из них 24 типа разрабатывает УНИИМ</a:t>
            </a:r>
          </a:p>
        </p:txBody>
      </p:sp>
    </p:spTree>
    <p:extLst>
      <p:ext uri="{BB962C8B-B14F-4D97-AF65-F5344CB8AC3E}">
        <p14:creationId xmlns:p14="http://schemas.microsoft.com/office/powerpoint/2010/main" val="1852508804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82898" y="155836"/>
            <a:ext cx="10226204" cy="368814"/>
          </a:xfrm>
        </p:spPr>
        <p:txBody>
          <a:bodyPr>
            <a:noAutofit/>
          </a:bodyPr>
          <a:lstStyle/>
          <a:p>
            <a:pPr>
              <a:buClr>
                <a:srgbClr val="C00000"/>
              </a:buClr>
            </a:pP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Сведения  о работах в области стандартизации</a:t>
            </a:r>
          </a:p>
        </p:txBody>
      </p:sp>
      <p:graphicFrame>
        <p:nvGraphicFramePr>
          <p:cNvPr id="4" name="Схема 3">
            <a:extLst>
              <a:ext uri="{FF2B5EF4-FFF2-40B4-BE49-F238E27FC236}">
                <a16:creationId xmlns:a16="http://schemas.microsoft.com/office/drawing/2014/main" id="{37F2E60C-B43F-D873-6DCB-92BF290DF9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2678541"/>
              </p:ext>
            </p:extLst>
          </p:nvPr>
        </p:nvGraphicFramePr>
        <p:xfrm>
          <a:off x="468763" y="633360"/>
          <a:ext cx="11188700" cy="58199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6F7E8F62-7AB9-7371-74D4-5E01EDD6D7F2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8616280" y="6381328"/>
            <a:ext cx="2743200" cy="365125"/>
          </a:xfrm>
        </p:spPr>
        <p:txBody>
          <a:bodyPr/>
          <a:lstStyle/>
          <a:p>
            <a:fld id="{86CB4B4D-7CA3-9044-876B-883B54F8677D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1130072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AB4E231-4D8E-BD74-69D4-9E56321DD1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969" y="2564904"/>
            <a:ext cx="2807004" cy="36599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F061F582-087F-E029-8070-0AFF630816C0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18</a:t>
            </a:fld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4BCF094A-C7A3-BB52-E468-6F8D9C23940C}"/>
              </a:ext>
            </a:extLst>
          </p:cNvPr>
          <p:cNvSpPr>
            <a:spLocks noGrp="1"/>
          </p:cNvSpPr>
          <p:nvPr/>
        </p:nvSpPr>
        <p:spPr>
          <a:xfrm>
            <a:off x="838200" y="63016"/>
            <a:ext cx="10515600" cy="917712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0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rgbClr val="004E6B"/>
                </a:solidFill>
                <a:latin typeface="Circe Bold" panose="020B0602020203020203" pitchFamily="34" charset="-52"/>
                <a:ea typeface="+mj-ea"/>
                <a:cs typeface="+mj-cs"/>
              </a:defRPr>
            </a:lvl1pPr>
          </a:lstStyle>
          <a:p>
            <a:r>
              <a:rPr lang="ru-RU" b="1" dirty="0">
                <a:latin typeface="+mj-lt"/>
              </a:rPr>
              <a:t>Федеральный закон № 18-ФЗ</a:t>
            </a:r>
            <a:br>
              <a:rPr lang="ru-RU" b="1" dirty="0">
                <a:latin typeface="+mj-lt"/>
              </a:rPr>
            </a:br>
            <a:r>
              <a:rPr lang="ru-RU" b="1" dirty="0">
                <a:latin typeface="+mj-lt"/>
              </a:rPr>
              <a:t>О внесении изменений в Федеральный закон "Об обеспечении единства измерений"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309FF5C-5E7D-493A-ECEA-4478A2731A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344" y="980728"/>
            <a:ext cx="2914753" cy="38676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05846D0-91D6-0B91-4F1D-317B98AF81B6}"/>
              </a:ext>
            </a:extLst>
          </p:cNvPr>
          <p:cNvSpPr txBox="1"/>
          <p:nvPr/>
        </p:nvSpPr>
        <p:spPr>
          <a:xfrm>
            <a:off x="4176854" y="918359"/>
            <a:ext cx="7764329" cy="535531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ru-RU" b="1" i="0" dirty="0">
                <a:solidFill>
                  <a:srgbClr val="FF0000"/>
                </a:solidFill>
                <a:effectLst/>
                <a:latin typeface="PT Serif" panose="020A0603040505020204" pitchFamily="18" charset="-52"/>
              </a:rPr>
              <a:t>Статья 5, часть 1</a:t>
            </a:r>
          </a:p>
          <a:p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</a:rPr>
              <a:t>Измерения, относящиеся к сфере государственного регулирования обеспечения единства измерений, должны выполняться по </a:t>
            </a:r>
            <a:r>
              <a:rPr lang="ru-RU" b="0" i="0" dirty="0">
                <a:solidFill>
                  <a:srgbClr val="000000"/>
                </a:solidFill>
                <a:effectLst/>
                <a:latin typeface="PT Serif" panose="020A0603040505020204" pitchFamily="18" charset="-52"/>
              </a:rPr>
              <a:t>первичным референтным методикам (методам) измерений, референтным методикам (методам) измерений и другим </a:t>
            </a:r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</a:rPr>
              <a:t>аттестованным методикам (методам) измерений, сведения о которых внесены в Федеральный информационный фонд по обеспечению единства измерений</a:t>
            </a:r>
            <a:r>
              <a:rPr lang="ru-RU" b="0" i="0" dirty="0">
                <a:solidFill>
                  <a:srgbClr val="000000"/>
                </a:solidFill>
                <a:effectLst/>
                <a:latin typeface="PT Serif" panose="020A0603040505020204" pitchFamily="18" charset="-52"/>
              </a:rPr>
              <a:t>, с применением средств измерений утвержденного типа, прошедших поверку. В первичных референтных методиках (методах) измерений, референтных методиках (методах) измерений и других аттестованных методиках (методах) измерений в качестве данных о физических константах и свойствах веществ и материалов должны использоваться стандартные справочные данные. В случае отсутствия стандартных справочных данных допускается использование данных о физических константах и свойствах веществ и материалов, принятых международными организациями с участием Российской Федерации. </a:t>
            </a:r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</a:rPr>
              <a:t>Результаты измерений должны быть выражены в единицах величин, допущенных к применению в Российской Федерации.</a:t>
            </a:r>
          </a:p>
        </p:txBody>
      </p:sp>
    </p:spTree>
    <p:extLst>
      <p:ext uri="{BB962C8B-B14F-4D97-AF65-F5344CB8AC3E}">
        <p14:creationId xmlns:p14="http://schemas.microsoft.com/office/powerpoint/2010/main" val="3920188567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04CE179D-A676-1FC7-A995-92BCDF3D5C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20D6CE3-AECF-4569-8ACD-33472A92AED1}" type="slidenum">
              <a:rPr lang="ru-RU" smtClean="0"/>
              <a:pPr>
                <a:defRPr/>
              </a:pPr>
              <a:t>19</a:t>
            </a:fld>
            <a:endParaRPr lang="ru-RU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4BCF094A-C7A3-BB52-E468-6F8D9C23940C}"/>
              </a:ext>
            </a:extLst>
          </p:cNvPr>
          <p:cNvSpPr>
            <a:spLocks noGrp="1"/>
          </p:cNvSpPr>
          <p:nvPr/>
        </p:nvSpPr>
        <p:spPr>
          <a:xfrm>
            <a:off x="299356" y="136525"/>
            <a:ext cx="11593288" cy="86409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rgbClr val="004E6B"/>
                </a:solidFill>
                <a:latin typeface="Circe Bold" panose="020B0602020203020203" pitchFamily="34" charset="-52"/>
                <a:ea typeface="+mj-ea"/>
                <a:cs typeface="+mj-cs"/>
              </a:defRPr>
            </a:lvl1pPr>
          </a:lstStyle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3000" b="1" dirty="0">
                <a:latin typeface="+mn-lt"/>
              </a:rPr>
              <a:t>Приказ Минпромторга России от 28.08.2020 г. № 2905</a:t>
            </a:r>
            <a:br>
              <a:rPr lang="ru-RU" sz="3000" b="1" dirty="0">
                <a:latin typeface="+mn-lt"/>
              </a:rPr>
            </a:br>
            <a:r>
              <a:rPr lang="ru-RU" sz="3000" b="1" dirty="0">
                <a:latin typeface="+mn-lt"/>
              </a:rPr>
              <a:t>(изменения)</a:t>
            </a:r>
            <a:r>
              <a:rPr lang="ru-RU" sz="3000" b="1" dirty="0">
                <a:solidFill>
                  <a:schemeClr val="tx1"/>
                </a:solidFill>
                <a:latin typeface="+mn-lt"/>
              </a:rPr>
              <a:t> </a:t>
            </a:r>
            <a:r>
              <a:rPr lang="ru-RU" sz="3000" b="1" dirty="0">
                <a:solidFill>
                  <a:srgbClr val="FF0000"/>
                </a:solidFill>
                <a:latin typeface="+mn-lt"/>
              </a:rPr>
              <a:t>(проект  с 1 марта 2025 г.)</a:t>
            </a:r>
          </a:p>
          <a:p>
            <a:endParaRPr lang="ru-RU" b="1" dirty="0">
              <a:latin typeface="+mn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F34C34-63D6-BFD9-A9FD-9C8899916553}"/>
              </a:ext>
            </a:extLst>
          </p:cNvPr>
          <p:cNvSpPr txBox="1"/>
          <p:nvPr/>
        </p:nvSpPr>
        <p:spPr>
          <a:xfrm>
            <a:off x="299356" y="1628800"/>
            <a:ext cx="11593288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0070C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Основные нововведения</a:t>
            </a:r>
            <a:r>
              <a:rPr lang="ru-RU" sz="20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:</a:t>
            </a:r>
          </a:p>
          <a:p>
            <a:pPr marL="342900" indent="-342900">
              <a:buFontTx/>
              <a:buChar char="-"/>
            </a:pPr>
            <a:r>
              <a:rPr lang="ru-RU" sz="2000" b="1" dirty="0">
                <a:latin typeface="Arial" panose="020B0604020202020204" pitchFamily="34" charset="0"/>
              </a:rPr>
              <a:t>Сведения о прослеживаемости аттестованных значений СО;</a:t>
            </a:r>
          </a:p>
          <a:p>
            <a:pPr marL="342900" indent="-342900">
              <a:buFontTx/>
              <a:buChar char="-"/>
            </a:pPr>
            <a:r>
              <a:rPr lang="ru-RU" sz="2000" b="1" dirty="0">
                <a:latin typeface="Arial" panose="020B0604020202020204" pitchFamily="34" charset="0"/>
              </a:rPr>
              <a:t>Внесение изменений на основе </a:t>
            </a:r>
            <a:r>
              <a:rPr lang="ru-RU" sz="2000" b="1" dirty="0">
                <a:solidFill>
                  <a:srgbClr val="FF0000"/>
                </a:solidFill>
                <a:latin typeface="Arial" panose="020B0604020202020204" pitchFamily="34" charset="0"/>
              </a:rPr>
              <a:t>заключений метрологической экспертизы</a:t>
            </a:r>
            <a:r>
              <a:rPr lang="ru-RU" sz="2000" b="1" dirty="0">
                <a:latin typeface="Arial" panose="020B0604020202020204" pitchFamily="34" charset="0"/>
              </a:rPr>
              <a:t>; </a:t>
            </a:r>
          </a:p>
          <a:p>
            <a:pPr marL="342900" indent="-342900">
              <a:buFontTx/>
              <a:buChar char="-"/>
            </a:pPr>
            <a:r>
              <a:rPr lang="ru-RU" sz="2000" b="1" dirty="0">
                <a:latin typeface="Arial" panose="020B0604020202020204" pitchFamily="34" charset="0"/>
                <a:ea typeface="Times New Roman" panose="02020603050405020304" pitchFamily="18" charset="0"/>
              </a:rPr>
              <a:t>При продлении.  </a:t>
            </a:r>
            <a:r>
              <a:rPr lang="ru-RU" sz="2000" b="1" dirty="0">
                <a:solidFill>
                  <a:srgbClr val="FF0000"/>
                </a:solidFill>
                <a:latin typeface="Arial" panose="020B0604020202020204" pitchFamily="34" charset="0"/>
              </a:rPr>
              <a:t>Заключение метрологической экспертизы с рекомендациями о продлении и не продлении срока действия утвержденного типа;</a:t>
            </a:r>
          </a:p>
          <a:p>
            <a:pPr marL="342900" indent="-342900">
              <a:buFontTx/>
              <a:buChar char="-"/>
            </a:pPr>
            <a:r>
              <a:rPr lang="ru-RU" sz="2000" b="1" dirty="0">
                <a:solidFill>
                  <a:srgbClr val="FF0000"/>
                </a:solidFill>
                <a:latin typeface="Arial" panose="020B0604020202020204" pitchFamily="34" charset="0"/>
              </a:rPr>
              <a:t>Тип СО или СИ </a:t>
            </a:r>
            <a:r>
              <a:rPr lang="ru-RU" sz="2000" b="1" dirty="0">
                <a:latin typeface="Arial" panose="020B0604020202020204" pitchFamily="34" charset="0"/>
              </a:rPr>
              <a:t>утверждается</a:t>
            </a:r>
            <a:r>
              <a:rPr lang="ru-RU" sz="2000" b="1" dirty="0">
                <a:solidFill>
                  <a:srgbClr val="FF0000"/>
                </a:solidFill>
                <a:latin typeface="Arial" panose="020B0604020202020204" pitchFamily="34" charset="0"/>
              </a:rPr>
              <a:t> </a:t>
            </a:r>
            <a:r>
              <a:rPr lang="ru-RU" sz="2000" b="1" dirty="0">
                <a:latin typeface="Arial" panose="020B0604020202020204" pitchFamily="34" charset="0"/>
              </a:rPr>
              <a:t>и</a:t>
            </a:r>
            <a:r>
              <a:rPr lang="ru-RU" sz="2000" b="1" dirty="0">
                <a:solidFill>
                  <a:srgbClr val="FF0000"/>
                </a:solidFill>
                <a:latin typeface="Arial" panose="020B0604020202020204" pitchFamily="34" charset="0"/>
              </a:rPr>
              <a:t> прекращает </a:t>
            </a:r>
            <a:r>
              <a:rPr lang="ru-RU" sz="2000" b="1" dirty="0">
                <a:latin typeface="Arial" panose="020B0604020202020204" pitchFamily="34" charset="0"/>
              </a:rPr>
              <a:t>свое действие по решению </a:t>
            </a:r>
            <a:r>
              <a:rPr lang="ru-RU" sz="2000" b="1" dirty="0">
                <a:solidFill>
                  <a:srgbClr val="FF0000"/>
                </a:solidFill>
                <a:latin typeface="Arial" panose="020B0604020202020204" pitchFamily="34" charset="0"/>
              </a:rPr>
              <a:t>Росстандарта. </a:t>
            </a:r>
          </a:p>
          <a:p>
            <a:pPr marL="342900" indent="-342900">
              <a:buFontTx/>
              <a:buChar char="-"/>
            </a:pPr>
            <a:r>
              <a:rPr lang="ru-RU" sz="2000" b="1" dirty="0">
                <a:solidFill>
                  <a:srgbClr val="FF0000"/>
                </a:solidFill>
                <a:latin typeface="Arial" panose="020B0604020202020204" pitchFamily="34" charset="0"/>
              </a:rPr>
              <a:t>Тип СО или СИ прекращает </a:t>
            </a:r>
            <a:r>
              <a:rPr lang="ru-RU" sz="2000" b="1" dirty="0">
                <a:latin typeface="Arial" panose="020B0604020202020204" pitchFamily="34" charset="0"/>
              </a:rPr>
              <a:t>свое действие на основании </a:t>
            </a:r>
            <a:r>
              <a:rPr lang="ru-RU" sz="2000" b="1" dirty="0">
                <a:solidFill>
                  <a:srgbClr val="FF0000"/>
                </a:solidFill>
                <a:latin typeface="Arial" panose="020B0604020202020204" pitchFamily="34" charset="0"/>
              </a:rPr>
              <a:t>решения суда </a:t>
            </a:r>
            <a:r>
              <a:rPr lang="ru-RU" sz="2000" b="1" dirty="0">
                <a:latin typeface="Arial" panose="020B0604020202020204" pitchFamily="34" charset="0"/>
              </a:rPr>
              <a:t>или по </a:t>
            </a:r>
            <a:r>
              <a:rPr lang="ru-RU" sz="2000" b="1" dirty="0">
                <a:solidFill>
                  <a:srgbClr val="FF0000"/>
                </a:solidFill>
                <a:latin typeface="Arial" panose="020B0604020202020204" pitchFamily="34" charset="0"/>
              </a:rPr>
              <a:t>заявлению правообладателя </a:t>
            </a:r>
            <a:r>
              <a:rPr lang="ru-RU" sz="2000" b="1" dirty="0">
                <a:latin typeface="Arial" panose="020B0604020202020204" pitchFamily="34" charset="0"/>
              </a:rPr>
              <a:t>. </a:t>
            </a:r>
          </a:p>
          <a:p>
            <a:pPr marL="342900" indent="-342900">
              <a:buFontTx/>
              <a:buChar char="-"/>
            </a:pP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917406642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53796185-84D6-C996-7927-2D3B82B849D2}"/>
              </a:ext>
            </a:extLst>
          </p:cNvPr>
          <p:cNvSpPr/>
          <p:nvPr/>
        </p:nvSpPr>
        <p:spPr>
          <a:xfrm>
            <a:off x="0" y="0"/>
            <a:ext cx="12192000" cy="1422367"/>
          </a:xfrm>
          <a:prstGeom prst="rect">
            <a:avLst/>
          </a:prstGeom>
          <a:solidFill>
            <a:srgbClr val="595959">
              <a:alpha val="2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414" name="Номер слайда 1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F3CAADFD-AA32-4703-9DF3-9A4B6D701F59}" type="slidenum">
              <a:rPr lang="ru-RU" sz="1400">
                <a:solidFill>
                  <a:srgbClr val="000000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627812" y="373179"/>
            <a:ext cx="4176464" cy="7771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 fontAlgn="base">
              <a:spcBef>
                <a:spcPts val="325"/>
              </a:spcBef>
              <a:spcAft>
                <a:spcPct val="0"/>
              </a:spcAft>
              <a:tabLst>
                <a:tab pos="355600" algn="l"/>
                <a:tab pos="460375" algn="l"/>
                <a:tab pos="909638" algn="l"/>
                <a:tab pos="1358900" algn="l"/>
                <a:tab pos="1808163" algn="l"/>
                <a:tab pos="2257425" algn="l"/>
                <a:tab pos="2706688" algn="l"/>
                <a:tab pos="3155950" algn="l"/>
                <a:tab pos="3605213" algn="l"/>
                <a:tab pos="4054475" algn="l"/>
                <a:tab pos="4503738" algn="l"/>
                <a:tab pos="4953000" algn="l"/>
                <a:tab pos="5402263" algn="l"/>
                <a:tab pos="5851525" algn="l"/>
                <a:tab pos="6300788" algn="l"/>
                <a:tab pos="6750050" algn="l"/>
                <a:tab pos="7199313" algn="l"/>
                <a:tab pos="7648575" algn="l"/>
                <a:tab pos="8097838" algn="l"/>
                <a:tab pos="8547100" algn="l"/>
                <a:tab pos="8996363" algn="l"/>
              </a:tabLst>
              <a:defRPr/>
            </a:pPr>
            <a:r>
              <a:rPr lang="ru-RU" sz="140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ановление</a:t>
            </a:r>
            <a:br>
              <a:rPr lang="ru-RU" sz="140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тельства Российской Федерации</a:t>
            </a:r>
          </a:p>
          <a:p>
            <a:pPr marL="355600" fontAlgn="base">
              <a:spcBef>
                <a:spcPts val="325"/>
              </a:spcBef>
              <a:spcAft>
                <a:spcPct val="0"/>
              </a:spcAft>
              <a:tabLst>
                <a:tab pos="355600" algn="l"/>
                <a:tab pos="460375" algn="l"/>
                <a:tab pos="909638" algn="l"/>
                <a:tab pos="1358900" algn="l"/>
                <a:tab pos="1808163" algn="l"/>
                <a:tab pos="2257425" algn="l"/>
                <a:tab pos="2706688" algn="l"/>
                <a:tab pos="3155950" algn="l"/>
                <a:tab pos="3605213" algn="l"/>
                <a:tab pos="4054475" algn="l"/>
                <a:tab pos="4503738" algn="l"/>
                <a:tab pos="4953000" algn="l"/>
                <a:tab pos="5402263" algn="l"/>
                <a:tab pos="5851525" algn="l"/>
                <a:tab pos="6300788" algn="l"/>
                <a:tab pos="6750050" algn="l"/>
                <a:tab pos="7199313" algn="l"/>
                <a:tab pos="7648575" algn="l"/>
                <a:tab pos="8097838" algn="l"/>
                <a:tab pos="8547100" algn="l"/>
                <a:tab pos="8996363" algn="l"/>
              </a:tabLst>
              <a:defRPr/>
            </a:pPr>
            <a:r>
              <a:rPr lang="ru-RU" sz="140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2 ноября 2009 г. N 884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255103" y="1648361"/>
            <a:ext cx="1024149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2400" b="1" dirty="0">
                <a:solidFill>
                  <a:srgbClr val="CC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и государственной службы стандартных образцов состава и свойств веществ и материалов (ГССО)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255103" y="2882499"/>
            <a:ext cx="288032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993300"/>
              </a:buClr>
              <a:defRPr/>
            </a:pPr>
            <a:r>
              <a:rPr lang="ru-RU" altLang="ru-RU" sz="1500" dirty="0">
                <a:latin typeface="Arial"/>
              </a:rPr>
              <a:t>Анализ и прогнозирование потребностей в СО, разработка программ создания СО</a:t>
            </a:r>
            <a:r>
              <a:rPr lang="ru-RU" altLang="ru-RU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>.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01950F9-7ED7-8BC4-D143-68CF95D11234}"/>
              </a:ext>
            </a:extLst>
          </p:cNvPr>
          <p:cNvSpPr/>
          <p:nvPr/>
        </p:nvSpPr>
        <p:spPr>
          <a:xfrm>
            <a:off x="4530251" y="4361837"/>
            <a:ext cx="727402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993300"/>
              </a:buClr>
              <a:defRPr/>
            </a:pPr>
            <a:r>
              <a:rPr lang="ru-RU" altLang="ru-RU" sz="1500" dirty="0">
                <a:latin typeface="Arial"/>
              </a:rPr>
              <a:t>Разработка, испытание и внедрение СО, предназначенных для воспроизведения, хранения и передачи характеристик состава или свойств веществ и материалов, выраженных в значениях единиц величин, допущенных к применению в Российской Федерации.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B8CAF195-AA0E-EDCE-2F13-BCC606636D59}"/>
              </a:ext>
            </a:extLst>
          </p:cNvPr>
          <p:cNvSpPr/>
          <p:nvPr/>
        </p:nvSpPr>
        <p:spPr>
          <a:xfrm>
            <a:off x="4530251" y="2904846"/>
            <a:ext cx="727402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993300"/>
              </a:buClr>
              <a:defRPr/>
            </a:pPr>
            <a:r>
              <a:rPr lang="ru-RU" altLang="ru-RU" sz="1500" dirty="0">
                <a:latin typeface="Arial"/>
              </a:rPr>
              <a:t>Ведение разделов Федерального информационного фонда по обеспечению единства измерений, содержащих сведения об утвержденных типах СО, нормативные правовые акты Российской Федерации, нормативные и технические документы по вопросам разработки, испытаний и применения СО</a:t>
            </a:r>
            <a:r>
              <a:rPr lang="ru-RU" altLang="ru-RU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>.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F4337014-55C5-6455-C3E3-6359D20CCF6C}"/>
              </a:ext>
            </a:extLst>
          </p:cNvPr>
          <p:cNvSpPr/>
          <p:nvPr/>
        </p:nvSpPr>
        <p:spPr>
          <a:xfrm>
            <a:off x="1325144" y="4435299"/>
            <a:ext cx="302433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993300"/>
              </a:buClr>
              <a:defRPr/>
            </a:pPr>
            <a:r>
              <a:rPr lang="ru-RU" altLang="ru-RU" sz="1500" dirty="0">
                <a:latin typeface="Arial"/>
              </a:rPr>
              <a:t>Участие в международном сотрудничестве по вопросам разработки, испытания</a:t>
            </a:r>
            <a:br>
              <a:rPr lang="ru-RU" altLang="ru-RU" sz="1500" dirty="0">
                <a:latin typeface="Arial"/>
              </a:rPr>
            </a:br>
            <a:r>
              <a:rPr lang="ru-RU" altLang="ru-RU" sz="1500" dirty="0">
                <a:latin typeface="Arial"/>
              </a:rPr>
              <a:t>и внедрения СО.</a:t>
            </a: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4404CFCB-6E6F-680C-7CEA-81BDEA360CC8}"/>
              </a:ext>
            </a:extLst>
          </p:cNvPr>
          <p:cNvGrpSpPr/>
          <p:nvPr/>
        </p:nvGrpSpPr>
        <p:grpSpPr>
          <a:xfrm>
            <a:off x="1346755" y="2528115"/>
            <a:ext cx="2572645" cy="340397"/>
            <a:chOff x="1147091" y="2636912"/>
            <a:chExt cx="2572645" cy="340397"/>
          </a:xfrm>
        </p:grpSpPr>
        <p:sp>
          <p:nvSpPr>
            <p:cNvPr id="9" name="Овал 8">
              <a:extLst>
                <a:ext uri="{FF2B5EF4-FFF2-40B4-BE49-F238E27FC236}">
                  <a16:creationId xmlns:a16="http://schemas.microsoft.com/office/drawing/2014/main" id="{E5440C9D-DC78-B25C-B80B-6D657E8165F8}"/>
                </a:ext>
              </a:extLst>
            </p:cNvPr>
            <p:cNvSpPr/>
            <p:nvPr/>
          </p:nvSpPr>
          <p:spPr>
            <a:xfrm>
              <a:off x="1147091" y="2636912"/>
              <a:ext cx="340397" cy="340397"/>
            </a:xfrm>
            <a:prstGeom prst="ellipse">
              <a:avLst/>
            </a:prstGeom>
            <a:solidFill>
              <a:srgbClr val="004E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cxnSp>
          <p:nvCxnSpPr>
            <p:cNvPr id="11" name="Прямая соединительная линия 10">
              <a:extLst>
                <a:ext uri="{FF2B5EF4-FFF2-40B4-BE49-F238E27FC236}">
                  <a16:creationId xmlns:a16="http://schemas.microsoft.com/office/drawing/2014/main" id="{45E10514-D125-A935-B8F0-F27FBBC4E71A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9" y="2817119"/>
              <a:ext cx="2052227" cy="0"/>
            </a:xfrm>
            <a:prstGeom prst="line">
              <a:avLst/>
            </a:prstGeom>
            <a:ln w="19050">
              <a:solidFill>
                <a:srgbClr val="004E6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9B84A318-ABB4-8BEF-95AA-B69615CCE0FC}"/>
              </a:ext>
            </a:extLst>
          </p:cNvPr>
          <p:cNvGrpSpPr/>
          <p:nvPr/>
        </p:nvGrpSpPr>
        <p:grpSpPr>
          <a:xfrm>
            <a:off x="1346370" y="4019843"/>
            <a:ext cx="2572645" cy="340397"/>
            <a:chOff x="1147091" y="2636912"/>
            <a:chExt cx="2572645" cy="340397"/>
          </a:xfrm>
        </p:grpSpPr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8A920D68-E8C9-EADF-E62E-91A4D0F7DC23}"/>
                </a:ext>
              </a:extLst>
            </p:cNvPr>
            <p:cNvSpPr/>
            <p:nvPr/>
          </p:nvSpPr>
          <p:spPr>
            <a:xfrm>
              <a:off x="1147091" y="2636912"/>
              <a:ext cx="340397" cy="340397"/>
            </a:xfrm>
            <a:prstGeom prst="ellipse">
              <a:avLst/>
            </a:prstGeom>
            <a:solidFill>
              <a:srgbClr val="004E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id="{114C7BBD-A750-0725-3CC7-2BAC78D816A7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9" y="2817119"/>
              <a:ext cx="2052227" cy="0"/>
            </a:xfrm>
            <a:prstGeom prst="line">
              <a:avLst/>
            </a:prstGeom>
            <a:ln w="19050">
              <a:solidFill>
                <a:srgbClr val="004E6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2676CBE5-B40B-1FA4-8BCB-3DAD82A15940}"/>
              </a:ext>
            </a:extLst>
          </p:cNvPr>
          <p:cNvGrpSpPr/>
          <p:nvPr/>
        </p:nvGrpSpPr>
        <p:grpSpPr>
          <a:xfrm>
            <a:off x="4459460" y="2528115"/>
            <a:ext cx="7037141" cy="340397"/>
            <a:chOff x="1147091" y="2636912"/>
            <a:chExt cx="7037141" cy="340397"/>
          </a:xfrm>
        </p:grpSpPr>
        <p:sp>
          <p:nvSpPr>
            <p:cNvPr id="23" name="Овал 22">
              <a:extLst>
                <a:ext uri="{FF2B5EF4-FFF2-40B4-BE49-F238E27FC236}">
                  <a16:creationId xmlns:a16="http://schemas.microsoft.com/office/drawing/2014/main" id="{250533D8-E64C-B571-A1C0-9AD8E2FA5663}"/>
                </a:ext>
              </a:extLst>
            </p:cNvPr>
            <p:cNvSpPr/>
            <p:nvPr/>
          </p:nvSpPr>
          <p:spPr>
            <a:xfrm>
              <a:off x="1147091" y="2636912"/>
              <a:ext cx="340397" cy="340397"/>
            </a:xfrm>
            <a:prstGeom prst="ellipse">
              <a:avLst/>
            </a:prstGeom>
            <a:solidFill>
              <a:srgbClr val="004E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cxnSp>
          <p:nvCxnSpPr>
            <p:cNvPr id="24" name="Прямая соединительная линия 23">
              <a:extLst>
                <a:ext uri="{FF2B5EF4-FFF2-40B4-BE49-F238E27FC236}">
                  <a16:creationId xmlns:a16="http://schemas.microsoft.com/office/drawing/2014/main" id="{D8E0392B-3C9A-A71D-6A3B-B713C056D189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9" y="2817119"/>
              <a:ext cx="6516723" cy="0"/>
            </a:xfrm>
            <a:prstGeom prst="line">
              <a:avLst/>
            </a:prstGeom>
            <a:ln w="19050">
              <a:solidFill>
                <a:srgbClr val="004E6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18EA86B9-BD37-68AB-F990-55B2A19BD136}"/>
              </a:ext>
            </a:extLst>
          </p:cNvPr>
          <p:cNvGrpSpPr/>
          <p:nvPr/>
        </p:nvGrpSpPr>
        <p:grpSpPr>
          <a:xfrm>
            <a:off x="4466209" y="4005600"/>
            <a:ext cx="7037141" cy="340397"/>
            <a:chOff x="1147091" y="2636912"/>
            <a:chExt cx="7037141" cy="340397"/>
          </a:xfrm>
        </p:grpSpPr>
        <p:sp>
          <p:nvSpPr>
            <p:cNvPr id="26" name="Овал 25">
              <a:extLst>
                <a:ext uri="{FF2B5EF4-FFF2-40B4-BE49-F238E27FC236}">
                  <a16:creationId xmlns:a16="http://schemas.microsoft.com/office/drawing/2014/main" id="{FFF4A78F-2C5B-1BA3-9EAB-48704E2E3F69}"/>
                </a:ext>
              </a:extLst>
            </p:cNvPr>
            <p:cNvSpPr/>
            <p:nvPr/>
          </p:nvSpPr>
          <p:spPr>
            <a:xfrm>
              <a:off x="1147091" y="2636912"/>
              <a:ext cx="340397" cy="340397"/>
            </a:xfrm>
            <a:prstGeom prst="ellipse">
              <a:avLst/>
            </a:prstGeom>
            <a:solidFill>
              <a:srgbClr val="004E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cxnSp>
          <p:nvCxnSpPr>
            <p:cNvPr id="27" name="Прямая соединительная линия 26">
              <a:extLst>
                <a:ext uri="{FF2B5EF4-FFF2-40B4-BE49-F238E27FC236}">
                  <a16:creationId xmlns:a16="http://schemas.microsoft.com/office/drawing/2014/main" id="{E68FF71D-7385-F95F-D8DF-6FE5D35E8AE7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9" y="2817119"/>
              <a:ext cx="6516723" cy="9197"/>
            </a:xfrm>
            <a:prstGeom prst="line">
              <a:avLst/>
            </a:prstGeom>
            <a:ln w="19050">
              <a:solidFill>
                <a:srgbClr val="004E6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CFBB4668-9991-BD60-2DB4-AF5D321BA446}"/>
              </a:ext>
            </a:extLst>
          </p:cNvPr>
          <p:cNvSpPr/>
          <p:nvPr/>
        </p:nvSpPr>
        <p:spPr>
          <a:xfrm>
            <a:off x="387724" y="267472"/>
            <a:ext cx="6624736" cy="8874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 fontAlgn="base">
              <a:spcBef>
                <a:spcPts val="425"/>
              </a:spcBef>
              <a:spcAft>
                <a:spcPct val="0"/>
              </a:spcAft>
              <a:tabLst>
                <a:tab pos="355600" algn="l"/>
                <a:tab pos="460375" algn="l"/>
                <a:tab pos="909638" algn="l"/>
                <a:tab pos="1358900" algn="l"/>
                <a:tab pos="1808163" algn="l"/>
                <a:tab pos="2257425" algn="l"/>
                <a:tab pos="2706688" algn="l"/>
                <a:tab pos="3155950" algn="l"/>
                <a:tab pos="3605213" algn="l"/>
                <a:tab pos="4054475" algn="l"/>
                <a:tab pos="4503738" algn="l"/>
                <a:tab pos="4953000" algn="l"/>
                <a:tab pos="5402263" algn="l"/>
                <a:tab pos="5851525" algn="l"/>
                <a:tab pos="6300788" algn="l"/>
                <a:tab pos="6750050" algn="l"/>
                <a:tab pos="7199313" algn="l"/>
                <a:tab pos="7648575" algn="l"/>
                <a:tab pos="8097838" algn="l"/>
                <a:tab pos="8547100" algn="l"/>
                <a:tab pos="8996363" algn="l"/>
              </a:tabLst>
              <a:defRPr/>
            </a:pPr>
            <a:r>
              <a:rPr lang="ru-RU" sz="1500" b="1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ожение</a:t>
            </a:r>
          </a:p>
          <a:p>
            <a:pPr marL="355600" fontAlgn="base">
              <a:spcBef>
                <a:spcPts val="425"/>
              </a:spcBef>
              <a:spcAft>
                <a:spcPct val="0"/>
              </a:spcAft>
              <a:tabLst>
                <a:tab pos="355600" algn="l"/>
                <a:tab pos="460375" algn="l"/>
                <a:tab pos="909638" algn="l"/>
                <a:tab pos="1358900" algn="l"/>
                <a:tab pos="1808163" algn="l"/>
                <a:tab pos="2257425" algn="l"/>
                <a:tab pos="2706688" algn="l"/>
                <a:tab pos="3155950" algn="l"/>
                <a:tab pos="3605213" algn="l"/>
                <a:tab pos="4054475" algn="l"/>
                <a:tab pos="4503738" algn="l"/>
                <a:tab pos="4953000" algn="l"/>
                <a:tab pos="5402263" algn="l"/>
                <a:tab pos="5851525" algn="l"/>
                <a:tab pos="6300788" algn="l"/>
                <a:tab pos="6750050" algn="l"/>
                <a:tab pos="7199313" algn="l"/>
                <a:tab pos="7648575" algn="l"/>
                <a:tab pos="8097838" algn="l"/>
                <a:tab pos="8547100" algn="l"/>
                <a:tab pos="8996363" algn="l"/>
              </a:tabLst>
              <a:defRPr/>
            </a:pPr>
            <a:r>
              <a:rPr lang="ru-RU" sz="1500" b="1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ГОСУДАРСТВЕННОЙ СЛУЖБЕ СТАНДАРТНЫХ ОБРАЗЦОВ </a:t>
            </a:r>
          </a:p>
          <a:p>
            <a:pPr marL="355600" fontAlgn="base">
              <a:spcBef>
                <a:spcPts val="425"/>
              </a:spcBef>
              <a:spcAft>
                <a:spcPct val="0"/>
              </a:spcAft>
              <a:tabLst>
                <a:tab pos="355600" algn="l"/>
                <a:tab pos="460375" algn="l"/>
                <a:tab pos="909638" algn="l"/>
                <a:tab pos="1358900" algn="l"/>
                <a:tab pos="1808163" algn="l"/>
                <a:tab pos="2257425" algn="l"/>
                <a:tab pos="2706688" algn="l"/>
                <a:tab pos="3155950" algn="l"/>
                <a:tab pos="3605213" algn="l"/>
                <a:tab pos="4054475" algn="l"/>
                <a:tab pos="4503738" algn="l"/>
                <a:tab pos="4953000" algn="l"/>
                <a:tab pos="5402263" algn="l"/>
                <a:tab pos="5851525" algn="l"/>
                <a:tab pos="6300788" algn="l"/>
                <a:tab pos="6750050" algn="l"/>
                <a:tab pos="7199313" algn="l"/>
                <a:tab pos="7648575" algn="l"/>
                <a:tab pos="8097838" algn="l"/>
                <a:tab pos="8547100" algn="l"/>
                <a:tab pos="8996363" algn="l"/>
              </a:tabLst>
              <a:defRPr/>
            </a:pPr>
            <a:r>
              <a:rPr lang="ru-RU" sz="1500" b="1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СТАВА И СВОЙСТВ ВЕЩЕСТВ И МАТЕРИАЛОВ</a:t>
            </a: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8986E6C0-27A9-8F96-0B13-1B4A4CD9AFE7}"/>
              </a:ext>
            </a:extLst>
          </p:cNvPr>
          <p:cNvGrpSpPr/>
          <p:nvPr/>
        </p:nvGrpSpPr>
        <p:grpSpPr>
          <a:xfrm>
            <a:off x="1346370" y="5513707"/>
            <a:ext cx="7845973" cy="400930"/>
            <a:chOff x="1147091" y="2636912"/>
            <a:chExt cx="7037141" cy="340397"/>
          </a:xfrm>
        </p:grpSpPr>
        <p:sp>
          <p:nvSpPr>
            <p:cNvPr id="10" name="Овал 9">
              <a:extLst>
                <a:ext uri="{FF2B5EF4-FFF2-40B4-BE49-F238E27FC236}">
                  <a16:creationId xmlns:a16="http://schemas.microsoft.com/office/drawing/2014/main" id="{623139CE-7C22-DE89-64DF-8A7D85B70D09}"/>
                </a:ext>
              </a:extLst>
            </p:cNvPr>
            <p:cNvSpPr/>
            <p:nvPr/>
          </p:nvSpPr>
          <p:spPr>
            <a:xfrm>
              <a:off x="1147091" y="2636912"/>
              <a:ext cx="340397" cy="340397"/>
            </a:xfrm>
            <a:prstGeom prst="ellipse">
              <a:avLst/>
            </a:prstGeom>
            <a:solidFill>
              <a:srgbClr val="004E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  <p:cxnSp>
          <p:nvCxnSpPr>
            <p:cNvPr id="12" name="Прямая соединительная линия 11">
              <a:extLst>
                <a:ext uri="{FF2B5EF4-FFF2-40B4-BE49-F238E27FC236}">
                  <a16:creationId xmlns:a16="http://schemas.microsoft.com/office/drawing/2014/main" id="{E9BC810E-86CA-80F9-631D-A9C486C4CCA0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9" y="2817119"/>
              <a:ext cx="6516723" cy="9197"/>
            </a:xfrm>
            <a:prstGeom prst="line">
              <a:avLst/>
            </a:prstGeom>
            <a:ln w="19050">
              <a:solidFill>
                <a:srgbClr val="004E6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BDAC0FC-8E28-A5FD-E69A-E2E3240E1420}"/>
              </a:ext>
            </a:extLst>
          </p:cNvPr>
          <p:cNvSpPr/>
          <p:nvPr/>
        </p:nvSpPr>
        <p:spPr>
          <a:xfrm>
            <a:off x="1725891" y="5792313"/>
            <a:ext cx="991867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993300"/>
              </a:buClr>
              <a:defRPr/>
            </a:pPr>
            <a:r>
              <a:rPr lang="ru-RU" altLang="ru-RU" sz="1500" b="1" dirty="0">
                <a:solidFill>
                  <a:schemeClr val="accent1"/>
                </a:solidFill>
                <a:latin typeface="Arial"/>
              </a:rPr>
              <a:t>Разработка технических и методических документов, устанавливающих применение СО в промышленном производстве и научно-технической деятельности.</a:t>
            </a:r>
          </a:p>
        </p:txBody>
      </p:sp>
    </p:spTree>
    <p:extLst>
      <p:ext uri="{BB962C8B-B14F-4D97-AF65-F5344CB8AC3E}">
        <p14:creationId xmlns:p14="http://schemas.microsoft.com/office/powerpoint/2010/main" val="411992869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0BB167B-FC08-B8E3-A6D6-70157E4B62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566" y="703469"/>
            <a:ext cx="3961235" cy="5714234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9ABAB27-C509-F55A-6216-354C1D38D0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6662" y="715232"/>
            <a:ext cx="3790164" cy="5501651"/>
          </a:xfrm>
          <a:prstGeom prst="rect">
            <a:avLst/>
          </a:prstGeom>
        </p:spPr>
      </p:pic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3DC5D475-2DCB-E528-E918-8E39777B36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20D6CE3-AECF-4569-8ACD-33472A92AED1}" type="slidenum">
              <a:rPr lang="ru-RU" smtClean="0"/>
              <a:pPr>
                <a:defRPr/>
              </a:pPr>
              <a:t>20</a:t>
            </a:fld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B9A0E434-A30F-C7CF-F195-ED4A4E7A0F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3235" y="367065"/>
            <a:ext cx="3790163" cy="567252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ABD91C5-D75C-3A7F-7472-099A8513BA3E}"/>
              </a:ext>
            </a:extLst>
          </p:cNvPr>
          <p:cNvSpPr txBox="1"/>
          <p:nvPr/>
        </p:nvSpPr>
        <p:spPr>
          <a:xfrm>
            <a:off x="4985410" y="261413"/>
            <a:ext cx="675335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/>
              <a:t>Приказ Федерального агентства по техническому регулированию и метрологии (Росстандарт) </a:t>
            </a:r>
          </a:p>
          <a:p>
            <a:pPr algn="ctr"/>
            <a:r>
              <a:rPr lang="ru-RU" sz="2800" b="1" dirty="0"/>
              <a:t>от 28.12.2024 № 315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DC20628-5129-606D-5017-F582A86B8607}"/>
              </a:ext>
            </a:extLst>
          </p:cNvPr>
          <p:cNvSpPr txBox="1"/>
          <p:nvPr/>
        </p:nvSpPr>
        <p:spPr>
          <a:xfrm>
            <a:off x="5786222" y="4485899"/>
            <a:ext cx="6020971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0" i="0" u="none" strike="noStrike" baseline="0" dirty="0">
                <a:solidFill>
                  <a:srgbClr val="000000"/>
                </a:solidFill>
              </a:rPr>
              <a:t>Возложить на </a:t>
            </a:r>
            <a:r>
              <a:rPr lang="ru-RU" sz="2400" b="1" i="0" u="none" strike="noStrike" baseline="0" dirty="0">
                <a:solidFill>
                  <a:srgbClr val="000000"/>
                </a:solidFill>
              </a:rPr>
              <a:t>ФБУ «НИЦ ПМ – Ростест» </a:t>
            </a:r>
            <a:r>
              <a:rPr lang="ru-RU" sz="2400" b="0" i="0" u="none" strike="noStrike" baseline="0" dirty="0">
                <a:solidFill>
                  <a:srgbClr val="000000"/>
                </a:solidFill>
              </a:rPr>
              <a:t>функцию </a:t>
            </a:r>
            <a:r>
              <a:rPr lang="ru-RU" sz="2400" b="1" i="0" u="none" strike="noStrike" baseline="0" dirty="0">
                <a:solidFill>
                  <a:srgbClr val="000000"/>
                </a:solidFill>
              </a:rPr>
              <a:t>единого центра проверки </a:t>
            </a:r>
            <a:r>
              <a:rPr lang="ru-RU" sz="2400" b="0" i="0" u="none" strike="noStrike" baseline="0" dirty="0">
                <a:solidFill>
                  <a:srgbClr val="000000"/>
                </a:solidFill>
              </a:rPr>
              <a:t>результатов испытаний в целях утверждения типа </a:t>
            </a:r>
            <a:r>
              <a:rPr lang="ru-RU" sz="2400" b="1" i="0" u="none" strike="noStrike" baseline="0" dirty="0">
                <a:solidFill>
                  <a:srgbClr val="000000"/>
                </a:solidFill>
              </a:rPr>
              <a:t>средств измерений </a:t>
            </a:r>
            <a:endParaRPr lang="ru-RU" sz="2400" b="1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9B921A1-23C2-C287-6D63-F841ADE0C6EE}"/>
              </a:ext>
            </a:extLst>
          </p:cNvPr>
          <p:cNvSpPr txBox="1"/>
          <p:nvPr/>
        </p:nvSpPr>
        <p:spPr>
          <a:xfrm>
            <a:off x="5786222" y="2233832"/>
            <a:ext cx="6265557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0" i="0" u="none" strike="noStrike" baseline="0" dirty="0">
                <a:solidFill>
                  <a:srgbClr val="000000"/>
                </a:solidFill>
              </a:rPr>
              <a:t>Возложить на </a:t>
            </a:r>
          </a:p>
          <a:p>
            <a:r>
              <a:rPr lang="ru-RU" sz="2400" b="1" i="0" u="none" strike="noStrike" baseline="0" dirty="0">
                <a:solidFill>
                  <a:srgbClr val="FF0000"/>
                </a:solidFill>
              </a:rPr>
              <a:t>ФГУП «ВНИИМ им. Д.И. Менделеева» </a:t>
            </a:r>
            <a:r>
              <a:rPr lang="ru-RU" sz="2400" b="0" i="0" u="none" strike="noStrike" baseline="0" dirty="0">
                <a:solidFill>
                  <a:srgbClr val="000000"/>
                </a:solidFill>
              </a:rPr>
              <a:t>функцию </a:t>
            </a:r>
            <a:r>
              <a:rPr lang="ru-RU" sz="2400" b="1" i="0" u="none" strike="noStrike" baseline="0" dirty="0">
                <a:solidFill>
                  <a:srgbClr val="FF0000"/>
                </a:solidFill>
              </a:rPr>
              <a:t>единого центра проверки результатов испытаний в целях утверждения типа стандартных образцов</a:t>
            </a:r>
            <a:r>
              <a:rPr lang="ru-RU" sz="2400" b="0" i="0" u="none" strike="noStrike" baseline="0" dirty="0">
                <a:solidFill>
                  <a:srgbClr val="FF0000"/>
                </a:solidFill>
              </a:rPr>
              <a:t>. </a:t>
            </a:r>
            <a:endParaRPr lang="ru-RU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0841246"/>
      </p:ext>
    </p:extLst>
  </p:cSld>
  <p:clrMapOvr>
    <a:masterClrMapping/>
  </p:clrMapOvr>
  <p:transition spd="slow"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C11C00-F735-4B2D-B59B-86D0707B93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Сведения об аккредитации и признании СМК филиала </a:t>
            </a: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4FB6D5F7-23B3-7463-9976-05EFC22ABA6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15719675"/>
              </p:ext>
            </p:extLst>
          </p:nvPr>
        </p:nvGraphicFramePr>
        <p:xfrm>
          <a:off x="767408" y="778189"/>
          <a:ext cx="11096625" cy="53016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A26EC2D3-025C-97E7-089C-6D6B6BC4402D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290997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8188F5A-80D3-48B4-88BD-795E435EB5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Эталонная база</a:t>
            </a: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910BDFD8-CDA5-BF47-480C-46AE7EF244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73301" y="4469043"/>
            <a:ext cx="2447794" cy="163218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0" name="Рисунок 19" descr="Изображение выглядит как текст, внутренний, стол, загроможденный&#10;&#10;Автоматически созданное описание">
            <a:extLst>
              <a:ext uri="{FF2B5EF4-FFF2-40B4-BE49-F238E27FC236}">
                <a16:creationId xmlns:a16="http://schemas.microsoft.com/office/drawing/2014/main" id="{9A7CFB2D-A93D-70E2-EB11-A8D63B45021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4727" y="753822"/>
            <a:ext cx="2448272" cy="163218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8" name="Рисунок 17" descr="Изображение выглядит как внутренний, пол, стена, стул&#10;&#10;Автоматически созданное описание">
            <a:extLst>
              <a:ext uri="{FF2B5EF4-FFF2-40B4-BE49-F238E27FC236}">
                <a16:creationId xmlns:a16="http://schemas.microsoft.com/office/drawing/2014/main" id="{CE697718-FE92-B1D8-8084-5C918C2F994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4727" y="2575918"/>
            <a:ext cx="2448272" cy="163218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9FEFDA04-F84C-25D2-E3CD-85A6EB33AD5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53"/>
          <a:stretch/>
        </p:blipFill>
        <p:spPr>
          <a:xfrm>
            <a:off x="4500404" y="2574385"/>
            <a:ext cx="2448272" cy="163218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4" name="Рисунок 13" descr="Изображение выглядит как текст, внутренний&#10;&#10;Автоматически созданное описание">
            <a:extLst>
              <a:ext uri="{FF2B5EF4-FFF2-40B4-BE49-F238E27FC236}">
                <a16:creationId xmlns:a16="http://schemas.microsoft.com/office/drawing/2014/main" id="{21A1132B-8215-7DCF-C1E4-ED48B57A170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045" y="4481744"/>
            <a:ext cx="2454693" cy="16321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" name="Рисунок 11" descr="Изображение выглядит как текст, внутренний, стена, пол&#10;&#10;Автоматически созданное описание">
            <a:extLst>
              <a:ext uri="{FF2B5EF4-FFF2-40B4-BE49-F238E27FC236}">
                <a16:creationId xmlns:a16="http://schemas.microsoft.com/office/drawing/2014/main" id="{87473275-BA79-8E8E-926A-BC1AC78B099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9926" y="4481742"/>
            <a:ext cx="2448272" cy="163218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" name="Рисунок 9" descr="Изображение выглядит как внутренний, фрезерный станок&#10;&#10;Автоматически созданное описание">
            <a:extLst>
              <a:ext uri="{FF2B5EF4-FFF2-40B4-BE49-F238E27FC236}">
                <a16:creationId xmlns:a16="http://schemas.microsoft.com/office/drawing/2014/main" id="{E80743B1-9A9A-78FE-37B0-7EC4FB33DB0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2793" y="766522"/>
            <a:ext cx="2448272" cy="163218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E8C02FFD-4C3B-3F56-38B7-274AEA4B7A9E}"/>
              </a:ext>
            </a:extLst>
          </p:cNvPr>
          <p:cNvSpPr txBox="1"/>
          <p:nvPr/>
        </p:nvSpPr>
        <p:spPr>
          <a:xfrm>
            <a:off x="3182614" y="4509120"/>
            <a:ext cx="11307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ЭТ 198</a:t>
            </a:r>
          </a:p>
          <a:p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85DECAE-E6E1-C8EF-4A5A-1339DF8073F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8948" y="2576009"/>
            <a:ext cx="2447794" cy="163218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971AD2C1-ABCF-C41E-2E6B-BEC17486D4F9}"/>
              </a:ext>
            </a:extLst>
          </p:cNvPr>
          <p:cNvSpPr txBox="1"/>
          <p:nvPr/>
        </p:nvSpPr>
        <p:spPr>
          <a:xfrm>
            <a:off x="6992931" y="4509120"/>
            <a:ext cx="11603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4E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ЭТ 168</a:t>
            </a:r>
          </a:p>
          <a:p>
            <a:r>
              <a:rPr lang="ru-RU" b="1" dirty="0">
                <a:solidFill>
                  <a:srgbClr val="004E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5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0988C80-FBDC-AF48-FE2C-0CB291D3BCAA}"/>
              </a:ext>
            </a:extLst>
          </p:cNvPr>
          <p:cNvSpPr txBox="1"/>
          <p:nvPr/>
        </p:nvSpPr>
        <p:spPr>
          <a:xfrm>
            <a:off x="6933942" y="764704"/>
            <a:ext cx="15383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4E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ЭТ 149</a:t>
            </a:r>
          </a:p>
          <a:p>
            <a:r>
              <a:rPr lang="ru-RU" b="1" dirty="0">
                <a:solidFill>
                  <a:srgbClr val="004E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0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D130D4A-C705-D48C-C532-724C94368FDD}"/>
              </a:ext>
            </a:extLst>
          </p:cNvPr>
          <p:cNvSpPr txBox="1"/>
          <p:nvPr/>
        </p:nvSpPr>
        <p:spPr>
          <a:xfrm>
            <a:off x="3123625" y="2636912"/>
            <a:ext cx="11307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4E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ЭТ 130</a:t>
            </a:r>
          </a:p>
          <a:p>
            <a:r>
              <a:rPr lang="ru-RU" b="1" dirty="0">
                <a:solidFill>
                  <a:srgbClr val="004E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</a:p>
        </p:txBody>
      </p:sp>
      <p:pic>
        <p:nvPicPr>
          <p:cNvPr id="37" name="Рисунок 36" descr="Изображение выглядит как текст, внутренний, стена, белый&#10;&#10;Автоматически созданное описание">
            <a:extLst>
              <a:ext uri="{FF2B5EF4-FFF2-40B4-BE49-F238E27FC236}">
                <a16:creationId xmlns:a16="http://schemas.microsoft.com/office/drawing/2014/main" id="{FBFE544E-97A2-8A9F-D5BD-698779996E1E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" t="383" r="15338" b="-383"/>
          <a:stretch/>
        </p:blipFill>
        <p:spPr>
          <a:xfrm>
            <a:off x="608470" y="766522"/>
            <a:ext cx="2447794" cy="163218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ECB27D65-EA48-86B8-9966-AE79CA142279}"/>
              </a:ext>
            </a:extLst>
          </p:cNvPr>
          <p:cNvSpPr txBox="1"/>
          <p:nvPr/>
        </p:nvSpPr>
        <p:spPr>
          <a:xfrm>
            <a:off x="6933942" y="2636912"/>
            <a:ext cx="12782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4E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ЭТ 67</a:t>
            </a:r>
          </a:p>
          <a:p>
            <a:r>
              <a:rPr lang="ru-RU" b="1" dirty="0">
                <a:solidFill>
                  <a:srgbClr val="004E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3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9ED0036-6940-FE6D-FC28-EAAEDFD6A5FD}"/>
              </a:ext>
            </a:extLst>
          </p:cNvPr>
          <p:cNvSpPr txBox="1"/>
          <p:nvPr/>
        </p:nvSpPr>
        <p:spPr>
          <a:xfrm>
            <a:off x="10821095" y="2636912"/>
            <a:ext cx="16309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4E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ЭТ 152</a:t>
            </a:r>
          </a:p>
          <a:p>
            <a:r>
              <a:rPr lang="ru-RU" b="1" dirty="0">
                <a:solidFill>
                  <a:srgbClr val="004E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29B0F3E-7198-B490-3E69-2FB02E9AC944}"/>
              </a:ext>
            </a:extLst>
          </p:cNvPr>
          <p:cNvSpPr txBox="1"/>
          <p:nvPr/>
        </p:nvSpPr>
        <p:spPr>
          <a:xfrm>
            <a:off x="10821095" y="764704"/>
            <a:ext cx="16309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ЭТ 176</a:t>
            </a:r>
          </a:p>
          <a:p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EED8702-0749-B067-F845-02EE2028C183}"/>
              </a:ext>
            </a:extLst>
          </p:cNvPr>
          <p:cNvSpPr txBox="1"/>
          <p:nvPr/>
        </p:nvSpPr>
        <p:spPr>
          <a:xfrm>
            <a:off x="3123625" y="764704"/>
            <a:ext cx="13566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ЭТ 210</a:t>
            </a:r>
          </a:p>
          <a:p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961D4C3-CC05-B550-5A1B-BDD27972D292}"/>
              </a:ext>
            </a:extLst>
          </p:cNvPr>
          <p:cNvSpPr txBox="1"/>
          <p:nvPr/>
        </p:nvSpPr>
        <p:spPr>
          <a:xfrm>
            <a:off x="10832999" y="4509120"/>
            <a:ext cx="12825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ЭТ 173</a:t>
            </a:r>
          </a:p>
          <a:p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3D285E5C-5509-04DF-B0C1-E449C7850809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1611277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8188F5A-80D3-48B4-88BD-795E435EB5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Эталонная база филиала УНИИМ</a:t>
            </a:r>
          </a:p>
        </p:txBody>
      </p:sp>
      <p:graphicFrame>
        <p:nvGraphicFramePr>
          <p:cNvPr id="7" name="Таблица 8">
            <a:extLst>
              <a:ext uri="{FF2B5EF4-FFF2-40B4-BE49-F238E27FC236}">
                <a16:creationId xmlns:a16="http://schemas.microsoft.com/office/drawing/2014/main" id="{1F13A604-93FE-FB47-EAAF-9FD4B447AC8E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754667954"/>
              </p:ext>
            </p:extLst>
          </p:nvPr>
        </p:nvGraphicFramePr>
        <p:xfrm>
          <a:off x="551384" y="866782"/>
          <a:ext cx="11377264" cy="48138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4374">
                  <a:extLst>
                    <a:ext uri="{9D8B030D-6E8A-4147-A177-3AD203B41FA5}">
                      <a16:colId xmlns:a16="http://schemas.microsoft.com/office/drawing/2014/main" val="1101119383"/>
                    </a:ext>
                  </a:extLst>
                </a:gridCol>
                <a:gridCol w="9812890">
                  <a:extLst>
                    <a:ext uri="{9D8B030D-6E8A-4147-A177-3AD203B41FA5}">
                      <a16:colId xmlns:a16="http://schemas.microsoft.com/office/drawing/2014/main" val="1489107021"/>
                    </a:ext>
                  </a:extLst>
                </a:gridCol>
              </a:tblGrid>
              <a:tr h="161256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ПЭ</a:t>
                      </a:r>
                    </a:p>
                  </a:txBody>
                  <a:tcPr>
                    <a:solidFill>
                      <a:srgbClr val="004E6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новные области применения (востребованность)</a:t>
                      </a:r>
                    </a:p>
                  </a:txBody>
                  <a:tcPr>
                    <a:solidFill>
                      <a:srgbClr val="004E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2110503"/>
                  </a:ext>
                </a:extLst>
              </a:tr>
              <a:tr h="2448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ЭТ 67-20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виационная и химическая промышленность, организации МЧС, металлургия, энергетика и медицина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0608909"/>
                  </a:ext>
                </a:extLst>
              </a:tr>
              <a:tr h="53412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ЭТ 130-201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едприятия ВПК (например, измерения прямолинейности каналов артиллерийских стволов), станкостроения (измерения прямолинейности станин и направляющих станков и оборудования), транспортного машиностроения (прямолинейность рельсов), геолого-разведывательных и горнодобывающих предприятиях (прямолинейность буровых штанг и труб)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47224694"/>
                  </a:ext>
                </a:extLst>
              </a:tr>
              <a:tr h="534122">
                <a:tc>
                  <a:txBody>
                    <a:bodyPr/>
                    <a:lstStyle/>
                    <a:p>
                      <a:pPr algn="l"/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ЭТ 149-20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иапазон малых значений крутящего момента силы  востребован на предприятиях приборостроения, «Росатома», «Роскосмоса»,  в точной механике, здравоохранении. В остальном диапазоне эталон востребован в энергетике (турбины), транспорте, судостроении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78817202"/>
                  </a:ext>
                </a:extLst>
              </a:tr>
              <a:tr h="244806">
                <a:tc>
                  <a:txBody>
                    <a:bodyPr/>
                    <a:lstStyle/>
                    <a:p>
                      <a:pPr algn="l"/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ЭТ 152-20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лектроэнергетика. Промышленность (электрометаллургия, электрохимия, электросварка, электротранспорт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28928001"/>
                  </a:ext>
                </a:extLst>
              </a:tr>
              <a:tr h="378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ЭТ 168-201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приятия Госкорпорации «Росатом» и Госкорпорации «Роскосмос», энергетика, химическая промышленность, металлургия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41718663"/>
                  </a:ext>
                </a:extLst>
              </a:tr>
              <a:tr h="689907">
                <a:tc>
                  <a:txBody>
                    <a:bodyPr/>
                    <a:lstStyle/>
                    <a:p>
                      <a:pPr algn="l"/>
                      <a:r>
                        <a:rPr lang="ru-RU" sz="14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ЭТ 173-201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троль влажности древесины, зерна при хранении и переработке, твердого минерального топлива. Контроль качества и безопасности при перевозке минеральных удобрений. Контроль качества и безопасности пищевых продуктов. Идентификация и проверка чистоты фармацевтических субстанций и химических реактивов. Технологический контроль руд и концентратов черных и цветных металлов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37620926"/>
                  </a:ext>
                </a:extLst>
              </a:tr>
              <a:tr h="244806">
                <a:tc>
                  <a:txBody>
                    <a:bodyPr/>
                    <a:lstStyle/>
                    <a:p>
                      <a:pPr algn="l"/>
                      <a:r>
                        <a:rPr lang="ru-RU" sz="14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ЭТ 176-201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храна окружающей среды, химическая, пищевая, фармацевтическая, электронная промышленность. 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08851221"/>
                  </a:ext>
                </a:extLst>
              </a:tr>
              <a:tr h="378336">
                <a:tc>
                  <a:txBody>
                    <a:bodyPr/>
                    <a:lstStyle/>
                    <a:p>
                      <a:pPr algn="l"/>
                      <a:r>
                        <a:rPr lang="ru-RU" sz="14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ЭТ 198-201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приятия чёрной металлургии и электротехнической промышленности, производители и потребители электротехнической стали и постоянных магнитов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60786137"/>
                  </a:ext>
                </a:extLst>
              </a:tr>
              <a:tr h="244806">
                <a:tc>
                  <a:txBody>
                    <a:bodyPr/>
                    <a:lstStyle/>
                    <a:p>
                      <a:pPr algn="l"/>
                      <a:r>
                        <a:rPr lang="ru-RU" sz="14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ЭТ 210-201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азо/нефте добыча, геологическая разведка месторождений. Производство катализаторов и сорбентов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74541483"/>
                  </a:ext>
                </a:extLst>
              </a:tr>
              <a:tr h="378336">
                <a:tc>
                  <a:txBody>
                    <a:bodyPr/>
                    <a:lstStyle/>
                    <a:p>
                      <a:pPr algn="l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ГЭТ 140-8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троль и исследование процессов, протекающих в двигателях внутреннего сгорания, </a:t>
                      </a:r>
                    </a:p>
                    <a:p>
                      <a:pPr algn="r"/>
                      <a:r>
                        <a:rPr lang="ru-RU" sz="12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прессорах, насосах, при обработке различных материалов давлением, в химических производствах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92606916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7695DCB-513D-420D-2028-43AD7C6CBB63}"/>
              </a:ext>
            </a:extLst>
          </p:cNvPr>
          <p:cNvSpPr txBox="1"/>
          <p:nvPr/>
        </p:nvSpPr>
        <p:spPr>
          <a:xfrm>
            <a:off x="551384" y="5763191"/>
            <a:ext cx="786601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Всего 10 ГПЭ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 средний возраст 6,6  лет  (без учета ГЭТ 140).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B6A1D4A-BB76-B2C0-A345-3F620A4E5514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5667519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Научное развитие филиал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 Совершенствование эталонной базы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AB07B2E-A391-4678-84BB-584A0EA09EB1}"/>
              </a:ext>
            </a:extLst>
          </p:cNvPr>
          <p:cNvSpPr txBox="1"/>
          <p:nvPr/>
        </p:nvSpPr>
        <p:spPr>
          <a:xfrm>
            <a:off x="551384" y="889458"/>
            <a:ext cx="10901464" cy="50790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</a:pPr>
            <a:endParaRPr lang="ru-RU" sz="16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</a:pPr>
            <a:r>
              <a:rPr lang="ru-RU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3-202</a:t>
            </a:r>
            <a:r>
              <a:rPr lang="en-US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</a:t>
            </a:r>
            <a:r>
              <a:rPr lang="ru-RU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г.</a:t>
            </a:r>
            <a:r>
              <a:rPr lang="ru-RU" sz="1600" b="1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</a:p>
          <a:p>
            <a:pPr algn="just">
              <a:lnSpc>
                <a:spcPct val="107000"/>
              </a:lnSpc>
            </a:pPr>
            <a:endParaRPr lang="ru-RU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07000"/>
              </a:lnSpc>
              <a:buClr>
                <a:srgbClr val="004E6B"/>
              </a:buClr>
              <a:buFont typeface="Wingdings" panose="05000000000000000000" pitchFamily="2" charset="2"/>
              <a:buChar char="v"/>
            </a:pPr>
            <a:r>
              <a:rPr lang="ru-RU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ЭТ 173-2017 </a:t>
            </a:r>
            <a:r>
              <a:rPr lang="ru-RU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осударственный первичный эталон единиц массовой доли, массовой (молярной) концентрации воды в твердых и жидких веществах и материалах</a:t>
            </a:r>
            <a:r>
              <a:rPr lang="ru-RU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включение установки на основе ГХ для измерения воды в фармацевтических субстанциях</a:t>
            </a:r>
            <a:r>
              <a:rPr lang="ru-RU" sz="16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</a:t>
            </a:r>
            <a:r>
              <a:rPr lang="ru-RU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</a:p>
          <a:p>
            <a:pPr marL="285750" indent="-285750" algn="just">
              <a:lnSpc>
                <a:spcPct val="107000"/>
              </a:lnSpc>
              <a:buClr>
                <a:srgbClr val="004E6B"/>
              </a:buClr>
              <a:buFont typeface="Wingdings" panose="05000000000000000000" pitchFamily="2" charset="2"/>
              <a:buChar char="v"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ГЭТ 176-2019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Государственный первичный эталон единиц массовой (молярной, атомной) доли и массовой (молярной) концентрации компонентов в жидких и твердых веществах и материалах на основе кулонометрии (обеспечение непрерывного диапазона измерений по массовой доле путем совершенствования эталонных установок на основе кулонометрии, а также включение в состав установок, реализующих методы ионной хроматографии, атомно-эмиссионной спектрометрии);</a:t>
            </a:r>
          </a:p>
          <a:p>
            <a:pPr marL="285750" indent="-285750" algn="just">
              <a:lnSpc>
                <a:spcPct val="107000"/>
              </a:lnSpc>
              <a:buClr>
                <a:srgbClr val="004E6B"/>
              </a:buClr>
              <a:buFont typeface="Wingdings" panose="05000000000000000000" pitchFamily="2" charset="2"/>
              <a:buChar char="v"/>
            </a:pPr>
            <a:r>
              <a:rPr lang="ru-RU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ЭТ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198‑2017 </a:t>
            </a:r>
            <a:r>
              <a:rPr lang="ru-RU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диниц мощности магнитных потерь, магнитной индукции постоянного магнитного поля в диапазоне от 0,1 до 2,5 Тл и магнитного потока в диапазоне от 1·10</a:t>
            </a:r>
            <a:r>
              <a:rPr lang="ru-RU" sz="1600" baseline="300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5</a:t>
            </a:r>
            <a:r>
              <a:rPr lang="ru-RU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до 3·10</a:t>
            </a:r>
            <a:r>
              <a:rPr lang="ru-RU" sz="1600" baseline="300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2</a:t>
            </a:r>
            <a:r>
              <a:rPr lang="ru-RU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  <a:r>
              <a:rPr lang="ru-RU" sz="1600" dirty="0" err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б</a:t>
            </a:r>
            <a:r>
              <a:rPr lang="ru-RU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возможность воспроизводить и передавать единицу магнитной индукции образцам магнитных материалов в диапазоне от 0,1 до 2,0 Тл при частоте перемагничивания от 50 до 2∙10</a:t>
            </a:r>
            <a:r>
              <a:rPr lang="ru-RU" sz="1600" b="1" baseline="300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4</a:t>
            </a:r>
            <a:r>
              <a:rPr lang="ru-RU" sz="16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Гц.)</a:t>
            </a:r>
            <a:r>
              <a:rPr lang="ru-RU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07000"/>
              </a:lnSpc>
              <a:buClr>
                <a:srgbClr val="004E6B"/>
              </a:buClr>
              <a:buFont typeface="Wingdings" panose="05000000000000000000" pitchFamily="2" charset="2"/>
              <a:buChar char="v"/>
            </a:pPr>
            <a:r>
              <a:rPr lang="ru-RU" sz="16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ЭТ 210-2019 </a:t>
            </a:r>
            <a:r>
              <a:rPr lang="ru-RU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диниц удельной адсорбции газов, удельной поверхности, удельного объема пор, размера пор, открытой пористости и коэффициента газопроницаемости твердых веществ и материалов. </a:t>
            </a:r>
            <a:r>
              <a:rPr lang="ru-RU" sz="16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Расширение диапазона воспроизведения коэффициента газопроницаемости на 4 порядка в область низких значений от 1·10</a:t>
            </a:r>
            <a:r>
              <a:rPr lang="ru-RU" sz="1600" b="1" baseline="300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3</a:t>
            </a:r>
            <a:r>
              <a:rPr lang="ru-RU" sz="16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до 1·10</a:t>
            </a:r>
            <a:r>
              <a:rPr lang="ru-RU" sz="1600" b="1" baseline="300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7</a:t>
            </a:r>
            <a:r>
              <a:rPr lang="ru-RU" sz="16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мкм</a:t>
            </a:r>
            <a:r>
              <a:rPr lang="ru-RU" sz="1600" b="1" baseline="300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</a:t>
            </a:r>
            <a:r>
              <a:rPr lang="ru-RU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.</a:t>
            </a:r>
            <a:endParaRPr lang="ru-RU" sz="1600" b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76B6ECC9-7316-EEF2-7454-AA6D0770BB3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5212000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EFF62F5E-0943-FEAC-1B44-CDCC944306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360" y="1575593"/>
            <a:ext cx="11381423" cy="2501479"/>
          </a:xfrm>
        </p:spPr>
        <p:txBody>
          <a:bodyPr rtlCol="0">
            <a:no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chemeClr val="accent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еобходимостью повышения производительности работ на ГЭТ 176 и масштабированием работ по выпуску стандартных образцов состава чистых химических веществ и их растворов </a:t>
            </a:r>
            <a:r>
              <a:rPr lang="ru-RU" sz="16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– носителей единиц величин, воспроизводимых ГЭТ 176, которые позволяют обеспечить метрологическую прослеживаемость результатов измерений в соответствии с требованиями №102-ФЗ «Об обеспечении единства измерений» и международного стандарта ИСО/МЭК 17025 «Общие требования к компетентности испытательных и калибровочных лабораторий», в связи с продолжающимся ростом спроса на данные СО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16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ходимостью обеспечения неразрывного диапазона воспроизведения единицы массовой доли компонентов в жидких и твердых веществах и материалах </a:t>
            </a:r>
            <a:r>
              <a:rPr lang="ru-RU" sz="16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в настоящий момент существует разрыв в 2 порядка, т.к. ГЭТ 176-2019 обеспечивает воспроизведение единицы массовой доли компонентов в диапазоне от 1·10</a:t>
            </a:r>
            <a:r>
              <a:rPr lang="ru-RU" sz="1600" baseline="300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6</a:t>
            </a:r>
            <a:r>
              <a:rPr lang="ru-RU" sz="16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% до 1·10</a:t>
            </a:r>
            <a:r>
              <a:rPr lang="ru-RU" sz="1600" baseline="300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2</a:t>
            </a:r>
            <a:r>
              <a:rPr lang="ru-RU" sz="16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% и от 1,000 % до 100,000 %). Это необходимо для обеспечения прослеживаемости аттестованных значений  стандартных образцов состава веществ, материалов, растворов веществ, в том числе многокомпонентных, с помощью участия ГЭТ 176 в работах по испытаниям в целях утверждения типа новых СО, разрабатываемых в том числе в целях импортозамещения СО зарубежных производителей, прекративших поставки СО в РФ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1600" b="1" dirty="0">
              <a:solidFill>
                <a:schemeClr val="tx1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ходимостью обновления части измерительного оборудования</a:t>
            </a:r>
            <a:r>
              <a:rPr lang="ru-RU" sz="16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входящего в состав ГЭТ 176-2019 и выработавшего ресурс, заложенный изготовителем.</a:t>
            </a:r>
          </a:p>
        </p:txBody>
      </p:sp>
      <p:sp>
        <p:nvSpPr>
          <p:cNvPr id="14339" name="Номер слайда 3">
            <a:extLst>
              <a:ext uri="{FF2B5EF4-FFF2-40B4-BE49-F238E27FC236}">
                <a16:creationId xmlns:a16="http://schemas.microsoft.com/office/drawing/2014/main" id="{383933C1-5E6D-8882-166A-938C3AA59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49AB6B8-7E93-44A9-A7A6-826B07E9B843}" type="slidenum">
              <a:rPr lang="ru-RU" altLang="ru-RU">
                <a:latin typeface="Circe" panose="020F0502020204030204"/>
              </a:rPr>
              <a:pPr/>
              <a:t>25</a:t>
            </a:fld>
            <a:endParaRPr lang="ru-RU" altLang="ru-RU">
              <a:latin typeface="Circe" panose="020F0502020204030204"/>
            </a:endParaRP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F73E70D-8486-E078-FFBC-7126D954671A}"/>
              </a:ext>
            </a:extLst>
          </p:cNvPr>
          <p:cNvSpPr txBox="1">
            <a:spLocks/>
          </p:cNvSpPr>
          <p:nvPr/>
        </p:nvSpPr>
        <p:spPr>
          <a:xfrm>
            <a:off x="1271464" y="695102"/>
            <a:ext cx="10820400" cy="6858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kern="1200">
                <a:solidFill>
                  <a:srgbClr val="004E6B"/>
                </a:solidFill>
                <a:latin typeface="Circe Bold" panose="020B0602020203020203" pitchFamily="34" charset="-52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  <a:defRPr/>
            </a:pPr>
            <a:r>
              <a:rPr lang="ru-RU" sz="2365" b="1" dirty="0">
                <a:latin typeface="Arial" panose="020B0604020202020204" pitchFamily="34" charset="0"/>
                <a:cs typeface="Arial" panose="020B0604020202020204" pitchFamily="34" charset="0"/>
                <a:sym typeface="Circe"/>
              </a:rPr>
              <a:t>Актуальность совершенствования ГЭТ 176 обусловлена</a:t>
            </a:r>
          </a:p>
        </p:txBody>
      </p:sp>
    </p:spTree>
  </p:cSld>
  <p:clrMapOvr>
    <a:masterClrMapping/>
  </p:clrMapOvr>
  <p:transition spd="slow">
    <p:push dir="u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Номер слайда 3">
            <a:extLst>
              <a:ext uri="{FF2B5EF4-FFF2-40B4-BE49-F238E27FC236}">
                <a16:creationId xmlns:a16="http://schemas.microsoft.com/office/drawing/2014/main" id="{383933C1-5E6D-8882-166A-938C3AA59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49AB6B8-7E93-44A9-A7A6-826B07E9B843}" type="slidenum">
              <a:rPr lang="ru-RU" altLang="ru-RU">
                <a:latin typeface="Circe" panose="020F0502020204030204"/>
              </a:rPr>
              <a:pPr/>
              <a:t>26</a:t>
            </a:fld>
            <a:endParaRPr lang="ru-RU" altLang="ru-RU">
              <a:latin typeface="Circe" panose="020F0502020204030204"/>
            </a:endParaRP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F73E70D-8486-E078-FFBC-7126D954671A}"/>
              </a:ext>
            </a:extLst>
          </p:cNvPr>
          <p:cNvSpPr txBox="1">
            <a:spLocks/>
          </p:cNvSpPr>
          <p:nvPr/>
        </p:nvSpPr>
        <p:spPr>
          <a:xfrm>
            <a:off x="825575" y="300924"/>
            <a:ext cx="10369151" cy="914399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kern="1200">
                <a:solidFill>
                  <a:srgbClr val="004E6B"/>
                </a:solidFill>
                <a:latin typeface="Circe Bold" panose="020B0602020203020203" pitchFamily="34" charset="-52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  <a:defRPr/>
            </a:pP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Сводные результаты исследований метрологических характеристик новой эталонной установки, реализующей метод </a:t>
            </a:r>
            <a:r>
              <a:rPr lang="ru-RU" sz="1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онной хроматографии</a:t>
            </a: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, включаемой в состав ГЭТ 176, и сопоставление с требованиями ТЗ</a:t>
            </a:r>
          </a:p>
        </p:txBody>
      </p:sp>
      <p:graphicFrame>
        <p:nvGraphicFramePr>
          <p:cNvPr id="2" name="Group 153">
            <a:extLst>
              <a:ext uri="{FF2B5EF4-FFF2-40B4-BE49-F238E27FC236}">
                <a16:creationId xmlns:a16="http://schemas.microsoft.com/office/drawing/2014/main" id="{0B826AA5-40C9-135E-D21F-B7F96B832EA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5942254"/>
              </p:ext>
            </p:extLst>
          </p:nvPr>
        </p:nvGraphicFramePr>
        <p:xfrm>
          <a:off x="407369" y="1359361"/>
          <a:ext cx="11706685" cy="4893500"/>
        </p:xfrm>
        <a:graphic>
          <a:graphicData uri="http://schemas.openxmlformats.org/drawingml/2006/table">
            <a:tbl>
              <a:tblPr/>
              <a:tblGrid>
                <a:gridCol w="20045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57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1457365447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40160">
                  <a:extLst>
                    <a:ext uri="{9D8B030D-6E8A-4147-A177-3AD203B41FA5}">
                      <a16:colId xmlns:a16="http://schemas.microsoft.com/office/drawing/2014/main" val="3038003254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580985518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337532">
                  <a:extLst>
                    <a:ext uri="{9D8B030D-6E8A-4147-A177-3AD203B41FA5}">
                      <a16:colId xmlns:a16="http://schemas.microsoft.com/office/drawing/2014/main" val="1266504322"/>
                    </a:ext>
                  </a:extLst>
                </a:gridCol>
              </a:tblGrid>
              <a:tr h="399828">
                <a:tc rowSpan="5">
                  <a:txBody>
                    <a:bodyPr/>
                    <a:lstStyle>
                      <a:lvl1pPr marL="342900" indent="-34290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Наименование</a:t>
                      </a:r>
                    </a:p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характеристики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 gridSpan="9"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Единица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625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Массовая доля, %</a:t>
                      </a:r>
                    </a:p>
                  </a:txBody>
                  <a:tcPr marL="121917" marR="121917" marT="45731" marB="45731" anchor="ctr" horzOverflow="overflow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Times New Roman" pitchFamily="18" charset="0"/>
                        </a:rPr>
                        <a:t>Массовая концентрация, г/дм</a:t>
                      </a:r>
                      <a:r>
                        <a:rPr kumimoji="0" lang="ru-RU" altLang="ru-RU" sz="1600" b="1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Times New Roman" pitchFamily="18" charset="0"/>
                        </a:rPr>
                        <a:t>3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imes New Roman" pitchFamily="18" charset="0"/>
                        </a:rPr>
                        <a:t>Молярная концентрация,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imes New Roman" pitchFamily="18" charset="0"/>
                        </a:rPr>
                        <a:t>моль/дм</a:t>
                      </a:r>
                      <a:r>
                        <a:rPr kumimoji="0" lang="ru-RU" altLang="ru-RU" sz="1600" b="1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imes New Roman" pitchFamily="18" charset="0"/>
                        </a:rPr>
                        <a:t>3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78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до</a:t>
                      </a:r>
                    </a:p>
                  </a:txBody>
                  <a:tcPr marL="121917" marR="121917" marT="45731" marB="45731" anchor="ctr" horzOverflow="overflow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осле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до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осле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до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осле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о ТЗ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олучено фактически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7619342"/>
                  </a:ext>
                </a:extLst>
              </a:tr>
              <a:tr h="56625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о ТЗ</a:t>
                      </a:r>
                      <a:endParaRPr lang="ru-RU" dirty="0"/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олучено фактически</a:t>
                      </a:r>
                      <a:endParaRPr lang="ru-RU" sz="800" dirty="0"/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о ТЗ</a:t>
                      </a:r>
                      <a:endParaRPr lang="ru-RU" dirty="0"/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олучено фактически</a:t>
                      </a:r>
                      <a:endParaRPr lang="ru-RU" sz="800" dirty="0"/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7370202"/>
                  </a:ext>
                </a:extLst>
              </a:tr>
              <a:tr h="85568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Диапазон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dirty="0"/>
                        <a:t>-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от </a:t>
                      </a:r>
                      <a:r>
                        <a:rPr kumimoji="0" lang="ru-RU" altLang="ru-RU" sz="18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1·10</a:t>
                      </a:r>
                      <a:r>
                        <a:rPr kumimoji="0" lang="ru-RU" altLang="ru-RU" sz="1800" b="1" i="0" u="none" strike="noStrike" kern="1200" cap="none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-4</a:t>
                      </a:r>
                      <a:endParaRPr kumimoji="0" lang="ru-RU" altLang="ru-RU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до 100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1,5·10</a:t>
                      </a:r>
                      <a:r>
                        <a:rPr kumimoji="0" lang="ru-RU" altLang="ru-RU" sz="1800" b="1" i="0" u="none" strike="noStrike" kern="1200" cap="none" normalizeH="0" baseline="3000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-6</a:t>
                      </a:r>
                      <a:endParaRPr kumimoji="0" lang="ru-RU" altLang="ru-RU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+mn-lt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до 100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от </a:t>
                      </a:r>
                      <a:r>
                        <a:rPr kumimoji="0" lang="ru-RU" altLang="ru-RU" sz="18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1·10</a:t>
                      </a:r>
                      <a:r>
                        <a:rPr kumimoji="0" lang="ru-RU" altLang="ru-RU" sz="1800" b="1" i="0" u="none" strike="noStrike" kern="1200" cap="none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-3</a:t>
                      </a: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до 1,0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от </a:t>
                      </a:r>
                      <a:r>
                        <a:rPr kumimoji="0" lang="ru-RU" altLang="ru-RU" sz="18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1,5·10</a:t>
                      </a:r>
                      <a:r>
                        <a:rPr kumimoji="0" lang="ru-RU" altLang="ru-RU" sz="1800" b="1" i="0" u="none" strike="noStrike" kern="1200" cap="none" normalizeH="0" baseline="3000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-5</a:t>
                      </a:r>
                      <a:endParaRPr kumimoji="0" lang="ru-RU" altLang="ru-RU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+mn-lt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до </a:t>
                      </a: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13,2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8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от 3·10</a:t>
                      </a:r>
                      <a:r>
                        <a:rPr kumimoji="0" lang="ru-RU" altLang="ru-RU" sz="1800" b="1" i="0" u="none" strike="noStrike" kern="1200" cap="none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-6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8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до 0,03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8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от 3·10</a:t>
                      </a:r>
                      <a:r>
                        <a:rPr kumimoji="0" lang="ru-RU" altLang="ru-RU" sz="1800" b="1" i="0" u="none" strike="noStrike" kern="1200" cap="none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-6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8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до 0,03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43079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Относительная стандартная неопределенность типа А, %</a:t>
                      </a:r>
                    </a:p>
                  </a:txBody>
                  <a:tcPr marL="121917" marR="121917" marT="45731" marB="4573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dirty="0"/>
                        <a:t>-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от 2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до 0,5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от </a:t>
                      </a: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6,1</a:t>
                      </a:r>
                      <a:endParaRPr kumimoji="0" lang="ru-RU" altLang="ru-RU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до </a:t>
                      </a: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0,2</a:t>
                      </a:r>
                      <a:endParaRPr kumimoji="0" lang="ru-RU" altLang="ru-RU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от 2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до 0,5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от </a:t>
                      </a: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6,1</a:t>
                      </a:r>
                      <a:endParaRPr kumimoji="0" lang="ru-RU" altLang="ru-RU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до </a:t>
                      </a: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0,2</a:t>
                      </a:r>
                      <a:endParaRPr kumimoji="0" lang="ru-RU" altLang="ru-RU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от 2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до 0,5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от </a:t>
                      </a: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6,1</a:t>
                      </a:r>
                      <a:endParaRPr kumimoji="0" lang="ru-RU" altLang="ru-RU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до </a:t>
                      </a: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0,2</a:t>
                      </a:r>
                      <a:endParaRPr kumimoji="0" lang="ru-RU" altLang="ru-RU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43079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Относительная стандартная неопределенность типа В, %</a:t>
                      </a:r>
                    </a:p>
                  </a:txBody>
                  <a:tcPr marL="121917" marR="121917" marT="45731" marB="4573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dirty="0"/>
                        <a:t>-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от 6,6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до 0,8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от </a:t>
                      </a: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1,5</a:t>
                      </a:r>
                      <a:endParaRPr kumimoji="0" lang="ru-RU" altLang="ru-RU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до 0,8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от 6,6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до 0,8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от </a:t>
                      </a: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1,5</a:t>
                      </a:r>
                      <a:endParaRPr kumimoji="0" lang="ru-RU" altLang="ru-RU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до 0,8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от 6,6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до 1,5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от </a:t>
                      </a: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1,5</a:t>
                      </a:r>
                      <a:endParaRPr kumimoji="0" lang="ru-RU" altLang="ru-RU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до </a:t>
                      </a:r>
                      <a:r>
                        <a:rPr kumimoji="0" lang="ru-RU" altLang="ru-RU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0,8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4" name="Picture 2" descr="Picture background">
            <a:extLst>
              <a:ext uri="{FF2B5EF4-FFF2-40B4-BE49-F238E27FC236}">
                <a16:creationId xmlns:a16="http://schemas.microsoft.com/office/drawing/2014/main" id="{2D26DBF5-572B-DE84-82AB-E42BE4967D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3146" y="-3517"/>
            <a:ext cx="910908" cy="1448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8302326"/>
      </p:ext>
    </p:extLst>
  </p:cSld>
  <p:clrMapOvr>
    <a:masterClrMapping/>
  </p:clrMapOvr>
  <p:transition spd="slow">
    <p:push dir="u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8FE1E040-52E4-7A87-D995-5DC61ED666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20D6CE3-AECF-4569-8ACD-33472A92AED1}" type="slidenum">
              <a:rPr lang="ru-RU" smtClean="0"/>
              <a:pPr>
                <a:defRPr/>
              </a:pPr>
              <a:t>27</a:t>
            </a:fld>
            <a:endParaRPr lang="ru-RU"/>
          </a:p>
        </p:txBody>
      </p:sp>
      <p:graphicFrame>
        <p:nvGraphicFramePr>
          <p:cNvPr id="3" name="Group 153">
            <a:extLst>
              <a:ext uri="{FF2B5EF4-FFF2-40B4-BE49-F238E27FC236}">
                <a16:creationId xmlns:a16="http://schemas.microsoft.com/office/drawing/2014/main" id="{BC7ABB77-3A97-C314-D9C7-A457AB5CB24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59726469"/>
              </p:ext>
            </p:extLst>
          </p:nvPr>
        </p:nvGraphicFramePr>
        <p:xfrm>
          <a:off x="231531" y="2319106"/>
          <a:ext cx="10000120" cy="3690223"/>
        </p:xfrm>
        <a:graphic>
          <a:graphicData uri="http://schemas.openxmlformats.org/drawingml/2006/table">
            <a:tbl>
              <a:tblPr/>
              <a:tblGrid>
                <a:gridCol w="62236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5777">
                  <a:extLst>
                    <a:ext uri="{9D8B030D-6E8A-4147-A177-3AD203B41FA5}">
                      <a16:colId xmlns:a16="http://schemas.microsoft.com/office/drawing/2014/main" val="4161925135"/>
                    </a:ext>
                  </a:extLst>
                </a:gridCol>
                <a:gridCol w="26806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04056">
                <a:tc rowSpan="2">
                  <a:txBody>
                    <a:bodyPr/>
                    <a:lstStyle>
                      <a:lvl1pPr marL="342900" indent="-34290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Наименование</a:t>
                      </a:r>
                    </a:p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характеристики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Значение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40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до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после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3565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000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charset="0"/>
                        </a:rPr>
                        <a:t>Спектральный диапазон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Arial Narrow" panose="020B0606020202030204" pitchFamily="34" charset="0"/>
                        </a:rPr>
                        <a:t>-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Times New Roman" pitchFamily="18" charset="0"/>
                        </a:rPr>
                        <a:t>от 178 до 408 нм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8742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2000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charset="0"/>
                        </a:rPr>
                        <a:t>относительное СКО среднего значения выходного сигнала (при массовой доле компонента не менее 1 %), не более</a:t>
                      </a:r>
                      <a:endParaRPr lang="ru-RU" altLang="ru-RU" sz="2000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Arial" charset="0"/>
                      </a:endParaRPr>
                    </a:p>
                  </a:txBody>
                  <a:tcPr marL="121917" marR="121917" marT="45731" marB="4573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Arial Narrow" panose="020B0606020202030204" pitchFamily="34" charset="0"/>
                        </a:rPr>
                        <a:t>-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Times New Roman" pitchFamily="18" charset="0"/>
                        </a:rPr>
                        <a:t>0,5 %</a:t>
                      </a:r>
                      <a:endParaRPr kumimoji="0" lang="ru-RU" altLang="ru-RU" sz="200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01792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2000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charset="0"/>
                        </a:rPr>
                        <a:t>стандартная неопределенность типа А значения выходного сигнала (при массовой доле компонента не менее 1 %), не более</a:t>
                      </a:r>
                      <a:endParaRPr lang="ru-RU" altLang="ru-RU" sz="2000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Arial" charset="0"/>
                      </a:endParaRPr>
                    </a:p>
                  </a:txBody>
                  <a:tcPr marL="121917" marR="121917" marT="45731" marB="4573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Arial Narrow" panose="020B0606020202030204" pitchFamily="34" charset="0"/>
                        </a:rPr>
                        <a:t>-</a:t>
                      </a: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Times New Roman" pitchFamily="18" charset="0"/>
                        </a:rPr>
                        <a:t>0,5 % </a:t>
                      </a:r>
                      <a:endParaRPr kumimoji="0" lang="ru-RU" altLang="ru-RU" sz="200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121917" marR="121917" marT="45731" marB="4573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0586DCFD-29D6-50DD-777A-DDE174694A70}"/>
              </a:ext>
            </a:extLst>
          </p:cNvPr>
          <p:cNvSpPr txBox="1">
            <a:spLocks/>
          </p:cNvSpPr>
          <p:nvPr/>
        </p:nvSpPr>
        <p:spPr>
          <a:xfrm>
            <a:off x="983432" y="462347"/>
            <a:ext cx="10820400" cy="685800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kern="1200">
                <a:solidFill>
                  <a:srgbClr val="004E6B"/>
                </a:solidFill>
                <a:latin typeface="Circe Bold" panose="020B0602020203020203" pitchFamily="34" charset="-52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  <a:defRPr/>
            </a:pPr>
            <a:r>
              <a:rPr lang="ru-RU" alt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Метрологические характеристики </a:t>
            </a: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новой эталонной </a:t>
            </a:r>
          </a:p>
          <a:p>
            <a:pPr algn="l" fontAlgn="auto">
              <a:spcAft>
                <a:spcPts val="0"/>
              </a:spcAft>
              <a:defRPr/>
            </a:pP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установки, </a:t>
            </a:r>
            <a:r>
              <a:rPr lang="ru-RU" alt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реализующей метод атомно-эмиссионной </a:t>
            </a:r>
          </a:p>
          <a:p>
            <a:pPr algn="l" fontAlgn="auto">
              <a:spcAft>
                <a:spcPts val="0"/>
              </a:spcAft>
              <a:defRPr/>
            </a:pPr>
            <a:r>
              <a:rPr lang="ru-RU" alt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спектрометрии</a:t>
            </a: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, включаемой в состав ГЭТ 176</a:t>
            </a:r>
          </a:p>
          <a:p>
            <a:pPr algn="l" fontAlgn="auto">
              <a:spcAft>
                <a:spcPts val="0"/>
              </a:spcAft>
              <a:defRPr/>
            </a:pPr>
            <a:endParaRPr lang="ru-RU" sz="2600" b="1" kern="0" dirty="0">
              <a:solidFill>
                <a:srgbClr val="9900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</a:endParaRPr>
          </a:p>
        </p:txBody>
      </p:sp>
      <p:pic>
        <p:nvPicPr>
          <p:cNvPr id="6" name="Picture 2" descr="Спектрометр эмиссионный МСАII V5">
            <a:extLst>
              <a:ext uri="{FF2B5EF4-FFF2-40B4-BE49-F238E27FC236}">
                <a16:creationId xmlns:a16="http://schemas.microsoft.com/office/drawing/2014/main" id="{C60E7B25-A246-17C1-3F72-4F471A41D9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2590" y="499798"/>
            <a:ext cx="1872115" cy="1705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C09F3F0-C13C-3C92-5922-ECD90CCCC7EE}"/>
              </a:ext>
            </a:extLst>
          </p:cNvPr>
          <p:cNvSpPr txBox="1"/>
          <p:nvPr/>
        </p:nvSpPr>
        <p:spPr>
          <a:xfrm>
            <a:off x="186746" y="1556792"/>
            <a:ext cx="8789573" cy="3539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000" lvl="1" indent="0">
              <a:spcBef>
                <a:spcPts val="0"/>
              </a:spcBef>
              <a:buNone/>
            </a:pPr>
            <a:r>
              <a:rPr lang="ru-RU" sz="1700" dirty="0">
                <a:latin typeface="+mn-lt"/>
                <a:cs typeface="Arial" panose="020B0604020202020204" pitchFamily="34" charset="0"/>
              </a:rPr>
              <a:t>Назначение ЭУ АЭС - </a:t>
            </a:r>
            <a:r>
              <a:rPr lang="ru-RU" altLang="zh-CN" sz="1700" dirty="0">
                <a:cs typeface="Arial" panose="020B0604020202020204" pitchFamily="34" charset="0"/>
              </a:rPr>
              <a:t>исследования однородности монолитных металлических образцов</a:t>
            </a:r>
            <a:r>
              <a:rPr lang="ru-RU" sz="1700" dirty="0"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28923006"/>
      </p:ext>
    </p:extLst>
  </p:cSld>
  <p:clrMapOvr>
    <a:masterClrMapping/>
  </p:clrMapOvr>
  <p:transition spd="slow">
    <p:push dir="u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6" descr="Картинки по запросу трансформатор">
            <a:extLst>
              <a:ext uri="{FF2B5EF4-FFF2-40B4-BE49-F238E27FC236}">
                <a16:creationId xmlns:a16="http://schemas.microsoft.com/office/drawing/2014/main" id="{56B15FDD-D884-9BD9-A378-2A434C6A3DB5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1635" y="2088727"/>
            <a:ext cx="5715000" cy="42862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D6EBC25-05AF-7772-018C-AB750C58E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96864" y="6303553"/>
            <a:ext cx="145810" cy="130677"/>
          </a:xfrm>
        </p:spPr>
        <p:txBody>
          <a:bodyPr/>
          <a:lstStyle/>
          <a:p>
            <a:fld id="{9255815B-AD1E-49D8-8E6F-989E26A7EBA1}" type="slidenum">
              <a:rPr lang="ru-RU" smtClean="0"/>
              <a:pPr/>
              <a:t>28</a:t>
            </a:fld>
            <a:endParaRPr lang="ru-RU"/>
          </a:p>
        </p:txBody>
      </p:sp>
      <p:sp>
        <p:nvSpPr>
          <p:cNvPr id="7" name="Номер слайда 3">
            <a:extLst>
              <a:ext uri="{FF2B5EF4-FFF2-40B4-BE49-F238E27FC236}">
                <a16:creationId xmlns:a16="http://schemas.microsoft.com/office/drawing/2014/main" id="{12E1BDCF-4111-81F4-7E9B-FB98BC5CB64E}"/>
              </a:ext>
            </a:extLst>
          </p:cNvPr>
          <p:cNvSpPr txBox="1">
            <a:spLocks noGrp="1"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919CA305-5170-48E0-9A9F-8DEB1FA390CF}" type="slidenum">
              <a:rPr lang="ru-RU" altLang="ru-RU" sz="1200">
                <a:solidFill>
                  <a:srgbClr val="898989"/>
                </a:solidFill>
                <a:latin typeface="Circe" panose="020B0502020203020203" pitchFamily="34" charset="-52"/>
              </a:rPr>
              <a:pPr algn="r" eaLnBrk="1" hangingPunct="1"/>
              <a:t>28</a:t>
            </a:fld>
            <a:endParaRPr lang="ru-RU" altLang="ru-RU" sz="1200">
              <a:solidFill>
                <a:srgbClr val="898989"/>
              </a:solidFill>
              <a:latin typeface="Circe" panose="020B0502020203020203" pitchFamily="34" charset="-52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AF9899B-A63F-EBEB-D0FA-65CB7214A30F}"/>
              </a:ext>
            </a:extLst>
          </p:cNvPr>
          <p:cNvSpPr/>
          <p:nvPr/>
        </p:nvSpPr>
        <p:spPr>
          <a:xfrm>
            <a:off x="751144" y="241812"/>
            <a:ext cx="10933112" cy="70788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2000" b="1" dirty="0">
                <a:solidFill>
                  <a:srgbClr val="004E6B"/>
                </a:solidFill>
                <a:latin typeface="Circe Bold" panose="020B0602020203020203" pitchFamily="34" charset="-52"/>
              </a:rPr>
              <a:t>Совершенствование ГПЭ единиц мощности магнитных потерь, магнитной индукции постоянного магнитного поля и магнитного потока </a:t>
            </a:r>
            <a:r>
              <a:rPr lang="ru-RU" altLang="ru-RU" sz="2000" b="1" dirty="0">
                <a:solidFill>
                  <a:srgbClr val="FF0000"/>
                </a:solidFill>
                <a:latin typeface="Circe Bold" panose="020B0602020203020203" pitchFamily="34" charset="-52"/>
              </a:rPr>
              <a:t>ГЭТ 198-2017</a:t>
            </a:r>
          </a:p>
        </p:txBody>
      </p:sp>
      <p:pic>
        <p:nvPicPr>
          <p:cNvPr id="14" name="Picture 4" descr="Картинки по запросу АЭС генератор">
            <a:extLst>
              <a:ext uri="{FF2B5EF4-FFF2-40B4-BE49-F238E27FC236}">
                <a16:creationId xmlns:a16="http://schemas.microsoft.com/office/drawing/2014/main" id="{F66E9D0E-7DBF-E13E-A8B4-606052ED88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5702" y="1211717"/>
            <a:ext cx="2451020" cy="1616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Стрелка: вверх 19">
            <a:extLst>
              <a:ext uri="{FF2B5EF4-FFF2-40B4-BE49-F238E27FC236}">
                <a16:creationId xmlns:a16="http://schemas.microsoft.com/office/drawing/2014/main" id="{91AFA772-019F-A049-9F47-19ED98F6CB1F}"/>
              </a:ext>
            </a:extLst>
          </p:cNvPr>
          <p:cNvSpPr/>
          <p:nvPr/>
        </p:nvSpPr>
        <p:spPr>
          <a:xfrm rot="3378410">
            <a:off x="5548404" y="3151962"/>
            <a:ext cx="484632" cy="660476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9" name="Picture 14" descr="Похожее изображение">
            <a:extLst>
              <a:ext uri="{FF2B5EF4-FFF2-40B4-BE49-F238E27FC236}">
                <a16:creationId xmlns:a16="http://schemas.microsoft.com/office/drawing/2014/main" id="{AB954095-2B08-4D34-66BE-C2371358AAC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155"/>
          <a:stretch/>
        </p:blipFill>
        <p:spPr bwMode="auto">
          <a:xfrm>
            <a:off x="1919536" y="1016822"/>
            <a:ext cx="2451021" cy="1661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Стрелка: вверх 20">
            <a:extLst>
              <a:ext uri="{FF2B5EF4-FFF2-40B4-BE49-F238E27FC236}">
                <a16:creationId xmlns:a16="http://schemas.microsoft.com/office/drawing/2014/main" id="{8AA90778-8C7C-9B7B-F99A-08576E79A978}"/>
              </a:ext>
            </a:extLst>
          </p:cNvPr>
          <p:cNvSpPr/>
          <p:nvPr/>
        </p:nvSpPr>
        <p:spPr>
          <a:xfrm>
            <a:off x="4208496" y="3205698"/>
            <a:ext cx="484632" cy="52322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Номер слайда 3">
            <a:extLst>
              <a:ext uri="{FF2B5EF4-FFF2-40B4-BE49-F238E27FC236}">
                <a16:creationId xmlns:a16="http://schemas.microsoft.com/office/drawing/2014/main" id="{D7EC2873-F3FD-C57C-D5BD-4FB3F137AF77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9255815B-AD1E-49D8-8E6F-989E26A7EBA1}" type="slidenum">
              <a:rPr lang="ru-RU" smtClean="0"/>
              <a:pPr>
                <a:defRPr/>
              </a:pPr>
              <a:t>28</a:t>
            </a:fld>
            <a:endParaRPr lang="ru-RU" dirty="0"/>
          </a:p>
        </p:txBody>
      </p:sp>
      <p:pic>
        <p:nvPicPr>
          <p:cNvPr id="24" name="Picture 2" descr="Похожее изображение">
            <a:extLst>
              <a:ext uri="{FF2B5EF4-FFF2-40B4-BE49-F238E27FC236}">
                <a16:creationId xmlns:a16="http://schemas.microsoft.com/office/drawing/2014/main" id="{98E6BB98-9949-6CF7-49DA-5FB5DFA9367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9"/>
          <a:stretch/>
        </p:blipFill>
        <p:spPr bwMode="auto">
          <a:xfrm>
            <a:off x="6631444" y="4176382"/>
            <a:ext cx="1747274" cy="2098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34D1C042-9C6C-D799-F3D6-4ECADEC87EB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116" y="4838832"/>
            <a:ext cx="1540807" cy="1233873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97BDD6DF-4543-3D2A-BF40-DA17ECFD29D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338" y="2515079"/>
            <a:ext cx="1661303" cy="1661303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0B96FC78-265D-08D6-253C-56302E44DEE0}"/>
              </a:ext>
            </a:extLst>
          </p:cNvPr>
          <p:cNvSpPr txBox="1"/>
          <p:nvPr/>
        </p:nvSpPr>
        <p:spPr>
          <a:xfrm>
            <a:off x="3733221" y="3909648"/>
            <a:ext cx="1540806" cy="369332"/>
          </a:xfrm>
          <a:prstGeom prst="rect">
            <a:avLst/>
          </a:prstGeom>
          <a:solidFill>
            <a:schemeClr val="bg1"/>
          </a:solidFill>
          <a:ln w="28575">
            <a:solidFill>
              <a:srgbClr val="004E6B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ru-RU" dirty="0">
                <a:solidFill>
                  <a:srgbClr val="004E6B"/>
                </a:solidFill>
                <a:latin typeface="Circe Bold" panose="020B0602020203020203" pitchFamily="34" charset="-52"/>
                <a:ea typeface="+mj-ea"/>
                <a:cs typeface="+mj-cs"/>
              </a:rPr>
              <a:t>ГЭТ 198-2017</a:t>
            </a:r>
          </a:p>
        </p:txBody>
      </p:sp>
      <p:sp>
        <p:nvSpPr>
          <p:cNvPr id="28" name="Стрелка: вниз 27">
            <a:extLst>
              <a:ext uri="{FF2B5EF4-FFF2-40B4-BE49-F238E27FC236}">
                <a16:creationId xmlns:a16="http://schemas.microsoft.com/office/drawing/2014/main" id="{A3E8C6B9-CBBA-C9F7-C4B7-3B62F05C79F0}"/>
              </a:ext>
            </a:extLst>
          </p:cNvPr>
          <p:cNvSpPr/>
          <p:nvPr/>
        </p:nvSpPr>
        <p:spPr>
          <a:xfrm>
            <a:off x="4208496" y="4501683"/>
            <a:ext cx="484632" cy="52322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Стрелка: вверх 19">
            <a:extLst>
              <a:ext uri="{FF2B5EF4-FFF2-40B4-BE49-F238E27FC236}">
                <a16:creationId xmlns:a16="http://schemas.microsoft.com/office/drawing/2014/main" id="{E74334F1-AA12-5FB3-DC11-3B1FF4907DC2}"/>
              </a:ext>
            </a:extLst>
          </p:cNvPr>
          <p:cNvSpPr/>
          <p:nvPr/>
        </p:nvSpPr>
        <p:spPr>
          <a:xfrm rot="6900772">
            <a:off x="5615627" y="4295068"/>
            <a:ext cx="484632" cy="825316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Стрелка: вверх 19">
            <a:extLst>
              <a:ext uri="{FF2B5EF4-FFF2-40B4-BE49-F238E27FC236}">
                <a16:creationId xmlns:a16="http://schemas.microsoft.com/office/drawing/2014/main" id="{BE8B1D8A-1F31-B00D-5906-267E5084FDD7}"/>
              </a:ext>
            </a:extLst>
          </p:cNvPr>
          <p:cNvSpPr/>
          <p:nvPr/>
        </p:nvSpPr>
        <p:spPr>
          <a:xfrm rot="17498327">
            <a:off x="2800683" y="3158944"/>
            <a:ext cx="484632" cy="830718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Стрелка: вверх 19">
            <a:extLst>
              <a:ext uri="{FF2B5EF4-FFF2-40B4-BE49-F238E27FC236}">
                <a16:creationId xmlns:a16="http://schemas.microsoft.com/office/drawing/2014/main" id="{28BE1B48-1AB1-E24E-E888-23304E5B35C9}"/>
              </a:ext>
            </a:extLst>
          </p:cNvPr>
          <p:cNvSpPr/>
          <p:nvPr/>
        </p:nvSpPr>
        <p:spPr>
          <a:xfrm rot="14644146">
            <a:off x="3063244" y="4440639"/>
            <a:ext cx="484632" cy="789085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A097830-356C-AEDB-CD6A-66FD010B99E0}"/>
              </a:ext>
            </a:extLst>
          </p:cNvPr>
          <p:cNvSpPr txBox="1"/>
          <p:nvPr/>
        </p:nvSpPr>
        <p:spPr>
          <a:xfrm>
            <a:off x="8538094" y="1077469"/>
            <a:ext cx="3520336" cy="51664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9705" algn="just">
              <a:lnSpc>
                <a:spcPct val="115000"/>
              </a:lnSpc>
              <a:spcAft>
                <a:spcPts val="600"/>
              </a:spcAft>
            </a:pPr>
            <a:r>
              <a:rPr lang="ru-RU" sz="1600" dirty="0">
                <a:effectLst/>
                <a:latin typeface="Circe Bold" panose="020B0602020203020203" pitchFamily="34" charset="-52"/>
                <a:ea typeface="Times New Roman" panose="02020603050405020304" pitchFamily="18" charset="0"/>
              </a:rPr>
              <a:t>Целью модернизации эталона является расширение измерительных возможностей ГЭТ 198-2017 в области измерений динамических характеристик образцов магнитных материалов. Измерительные установки «ЦИКЛ» и «ЦИКЛ-2», входящие в состав эталона дополнительно будут воспроизводить и передавать единицу магнитной индукции образцам магнитных материалов в диапазоне от 0,1 до 2,0 Тл при частоте перемагничивания от 50 до 2∙10</a:t>
            </a:r>
            <a:r>
              <a:rPr lang="ru-RU" sz="1600" baseline="30000" dirty="0">
                <a:effectLst/>
                <a:latin typeface="Circe Bold" panose="020B0602020203020203" pitchFamily="34" charset="-52"/>
                <a:ea typeface="Times New Roman" panose="02020603050405020304" pitchFamily="18" charset="0"/>
              </a:rPr>
              <a:t>4</a:t>
            </a:r>
            <a:r>
              <a:rPr lang="ru-RU" sz="1600" dirty="0">
                <a:effectLst/>
                <a:latin typeface="Circe Bold" panose="020B0602020203020203" pitchFamily="34" charset="-52"/>
                <a:ea typeface="Times New Roman" panose="02020603050405020304" pitchFamily="18" charset="0"/>
              </a:rPr>
              <a:t> Гц.</a:t>
            </a:r>
            <a:endParaRPr lang="ru-RU" sz="900" dirty="0">
              <a:effectLst/>
              <a:latin typeface="Circe Bold" panose="020B0602020203020203" pitchFamily="34" charset="-52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0638917"/>
      </p:ext>
    </p:extLst>
  </p:cSld>
  <p:clrMapOvr>
    <a:masterClrMapping/>
  </p:clrMapOvr>
  <p:transition spd="slow">
    <p:push dir="u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255815B-AD1E-49D8-8E6F-989E26A7EBA1}" type="slidenum">
              <a:rPr lang="ru-RU" smtClean="0"/>
              <a:pPr>
                <a:defRPr/>
              </a:pPr>
              <a:t>29</a:t>
            </a:fld>
            <a:endParaRPr lang="ru-RU"/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767408" y="168256"/>
            <a:ext cx="10515600" cy="116076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rgbClr val="004E6B"/>
                </a:solidFill>
                <a:latin typeface="Circe Bold" panose="020B0602020203020203" pitchFamily="34" charset="-52"/>
                <a:ea typeface="+mj-ea"/>
                <a:cs typeface="+mj-cs"/>
              </a:defRPr>
            </a:lvl1pPr>
          </a:lstStyle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Метрологические характеристики ГЭТ 198</a:t>
            </a:r>
            <a:endParaRPr lang="ru-RU" b="1" dirty="0"/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204E4B6D-5228-4A21-A081-F3E743CB74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709286"/>
              </p:ext>
            </p:extLst>
          </p:nvPr>
        </p:nvGraphicFramePr>
        <p:xfrm>
          <a:off x="284332" y="908720"/>
          <a:ext cx="11623336" cy="5200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36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9098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098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00109">
                <a:tc>
                  <a:txBody>
                    <a:bodyPr/>
                    <a:lstStyle/>
                    <a:p>
                      <a:pPr marL="0"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  <a:effectLst/>
                        </a:rPr>
                        <a:t>Параметр</a:t>
                      </a:r>
                      <a:endParaRPr lang="ru-RU" sz="16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  <a:effectLst/>
                        </a:rPr>
                        <a:t>Значения текущего ГЭТ 198‑2017</a:t>
                      </a:r>
                      <a:endParaRPr lang="ru-RU" sz="16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  <a:effectLst/>
                        </a:rPr>
                        <a:t>Ожидаемые значения после модернизации (ТЗ)</a:t>
                      </a:r>
                      <a:endParaRPr lang="ru-RU" sz="16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09961">
                <a:tc>
                  <a:txBody>
                    <a:bodyPr/>
                    <a:lstStyle/>
                    <a:p>
                      <a:pPr mar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FF0000"/>
                          </a:solidFill>
                          <a:effectLst/>
                        </a:rPr>
                        <a:t>Магнитная индукция переменного магнитного поля</a:t>
                      </a:r>
                      <a:endParaRPr lang="ru-RU" sz="1600" b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FF0000"/>
                          </a:solidFill>
                          <a:effectLst/>
                        </a:rPr>
                        <a:t>нет</a:t>
                      </a:r>
                      <a:endParaRPr lang="ru-RU" sz="1600" b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FF0000"/>
                          </a:solidFill>
                          <a:effectLst/>
                        </a:rPr>
                        <a:t>Диапазон от 0,1 до 2,0 Тл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rgbClr val="FF0000"/>
                          </a:solidFill>
                          <a:effectLst/>
                        </a:rPr>
                        <a:t>Частота перемагничивания от 50 до 2∙10</a:t>
                      </a:r>
                      <a:r>
                        <a:rPr lang="ru-RU" sz="1600" b="0" baseline="30000" dirty="0">
                          <a:solidFill>
                            <a:srgbClr val="FF0000"/>
                          </a:solidFill>
                          <a:effectLst/>
                        </a:rPr>
                        <a:t>4</a:t>
                      </a:r>
                      <a:r>
                        <a:rPr lang="ru-RU" sz="1600" b="0" dirty="0">
                          <a:solidFill>
                            <a:srgbClr val="FF0000"/>
                          </a:solidFill>
                          <a:effectLst/>
                        </a:rPr>
                        <a:t> Гц</a:t>
                      </a:r>
                    </a:p>
                    <a:p>
                      <a:pPr mar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FF0000"/>
                          </a:solidFill>
                          <a:effectLst/>
                        </a:rPr>
                        <a:t>Относительная расширенная неопределённость от 0,2 до 1,0 %</a:t>
                      </a:r>
                      <a:endParaRPr lang="ru-RU" sz="1600" b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50272">
                <a:tc>
                  <a:txBody>
                    <a:bodyPr/>
                    <a:lstStyle/>
                    <a:p>
                      <a:pPr mar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Мощность и удельная мощность магнитных потерь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Диапазоны от 0,1 до 20 Вт и от 0,1 до 200 Вт/кг</a:t>
                      </a:r>
                    </a:p>
                    <a:p>
                      <a:pPr mar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Частота перемагничивания от 50 до 2∙10</a:t>
                      </a:r>
                      <a:r>
                        <a:rPr lang="ru-RU" sz="1600" baseline="30000" dirty="0">
                          <a:effectLst/>
                        </a:rPr>
                        <a:t>5</a:t>
                      </a:r>
                      <a:r>
                        <a:rPr lang="ru-RU" sz="1600" dirty="0">
                          <a:effectLst/>
                        </a:rPr>
                        <a:t> Гц</a:t>
                      </a:r>
                    </a:p>
                    <a:p>
                      <a:pPr mar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Относительная расширенная неопределённость от 0,2 до 0,8 %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Диапазоны от 0,1 до 20 Вт и от 0,1 до 200 Вт/кг</a:t>
                      </a:r>
                    </a:p>
                    <a:p>
                      <a:pPr mar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Частота перемагничивания от 50 до 2∙10</a:t>
                      </a:r>
                      <a:r>
                        <a:rPr lang="ru-RU" sz="1600" baseline="30000" dirty="0">
                          <a:effectLst/>
                        </a:rPr>
                        <a:t>5</a:t>
                      </a:r>
                      <a:r>
                        <a:rPr lang="ru-RU" sz="1600" dirty="0">
                          <a:effectLst/>
                        </a:rPr>
                        <a:t> Гц</a:t>
                      </a:r>
                    </a:p>
                    <a:p>
                      <a:pPr mar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Относительная расширенная неопределённость от 0,2 до 0,8 %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65885">
                <a:tc>
                  <a:txBody>
                    <a:bodyPr/>
                    <a:lstStyle/>
                    <a:p>
                      <a:pPr mar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Магнитная индукция постоянного магнитного поля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Диапазон от 0,1 до 2,5 Тл</a:t>
                      </a:r>
                    </a:p>
                    <a:p>
                      <a:pPr mar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Относительная расширенная неопределённость от 1·10</a:t>
                      </a:r>
                      <a:r>
                        <a:rPr lang="ru-RU" sz="1600" baseline="30000" dirty="0">
                          <a:effectLst/>
                        </a:rPr>
                        <a:t>-5</a:t>
                      </a:r>
                      <a:r>
                        <a:rPr lang="ru-RU" sz="1600" dirty="0">
                          <a:effectLst/>
                        </a:rPr>
                        <a:t> до 1·10</a:t>
                      </a:r>
                      <a:r>
                        <a:rPr lang="ru-RU" sz="1600" baseline="30000" dirty="0">
                          <a:effectLst/>
                        </a:rPr>
                        <a:t>-3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Диапазон от 0,1 до 2,5 Тл</a:t>
                      </a:r>
                    </a:p>
                    <a:p>
                      <a:pPr mar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Относительная расширенная неопределённость от 1·10</a:t>
                      </a:r>
                      <a:r>
                        <a:rPr lang="ru-RU" sz="1600" baseline="30000" dirty="0">
                          <a:effectLst/>
                        </a:rPr>
                        <a:t>-5</a:t>
                      </a:r>
                      <a:r>
                        <a:rPr lang="ru-RU" sz="1600" dirty="0">
                          <a:effectLst/>
                        </a:rPr>
                        <a:t> до 1·10</a:t>
                      </a:r>
                      <a:r>
                        <a:rPr lang="ru-RU" sz="1600" baseline="30000" dirty="0">
                          <a:effectLst/>
                        </a:rPr>
                        <a:t>-3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74413">
                <a:tc>
                  <a:txBody>
                    <a:bodyPr/>
                    <a:lstStyle/>
                    <a:p>
                      <a:pPr mar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Магнитный поток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Диапазон от 1·10</a:t>
                      </a:r>
                      <a:r>
                        <a:rPr lang="ru-RU" sz="1600" baseline="30000" dirty="0">
                          <a:effectLst/>
                        </a:rPr>
                        <a:t>‑5</a:t>
                      </a:r>
                      <a:r>
                        <a:rPr lang="ru-RU" sz="1600" dirty="0">
                          <a:effectLst/>
                        </a:rPr>
                        <a:t> до 3·10</a:t>
                      </a:r>
                      <a:r>
                        <a:rPr lang="ru-RU" sz="1600" baseline="30000" dirty="0">
                          <a:effectLst/>
                        </a:rPr>
                        <a:t>-2</a:t>
                      </a:r>
                      <a:r>
                        <a:rPr lang="ru-RU" sz="1600" dirty="0">
                          <a:effectLst/>
                        </a:rPr>
                        <a:t> </a:t>
                      </a:r>
                      <a:r>
                        <a:rPr lang="ru-RU" sz="1600" dirty="0" err="1">
                          <a:effectLst/>
                        </a:rPr>
                        <a:t>Вб</a:t>
                      </a:r>
                      <a:endParaRPr lang="ru-RU" sz="1600" dirty="0">
                        <a:effectLst/>
                      </a:endParaRPr>
                    </a:p>
                    <a:p>
                      <a:pPr mar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Относительная расширенная неопределённость от 2,2·10</a:t>
                      </a:r>
                      <a:r>
                        <a:rPr lang="ru-RU" sz="1600" baseline="30000" dirty="0">
                          <a:effectLst/>
                        </a:rPr>
                        <a:t>-3</a:t>
                      </a:r>
                      <a:r>
                        <a:rPr lang="ru-RU" sz="1600" dirty="0">
                          <a:effectLst/>
                        </a:rPr>
                        <a:t> до 1,8·10</a:t>
                      </a:r>
                      <a:r>
                        <a:rPr lang="ru-RU" sz="1600" baseline="30000" dirty="0">
                          <a:effectLst/>
                        </a:rPr>
                        <a:t>-3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Диапазон от 1·10</a:t>
                      </a:r>
                      <a:r>
                        <a:rPr lang="ru-RU" sz="1600" baseline="30000" dirty="0">
                          <a:effectLst/>
                        </a:rPr>
                        <a:t>‑5</a:t>
                      </a:r>
                      <a:r>
                        <a:rPr lang="ru-RU" sz="1600" dirty="0">
                          <a:effectLst/>
                        </a:rPr>
                        <a:t> до 3·10</a:t>
                      </a:r>
                      <a:r>
                        <a:rPr lang="ru-RU" sz="1600" baseline="30000" dirty="0">
                          <a:effectLst/>
                        </a:rPr>
                        <a:t>-2</a:t>
                      </a:r>
                      <a:r>
                        <a:rPr lang="ru-RU" sz="1600" dirty="0">
                          <a:effectLst/>
                        </a:rPr>
                        <a:t> </a:t>
                      </a:r>
                      <a:r>
                        <a:rPr lang="ru-RU" sz="1600" dirty="0" err="1">
                          <a:effectLst/>
                        </a:rPr>
                        <a:t>Вб</a:t>
                      </a:r>
                      <a:endParaRPr lang="ru-RU" sz="1600" dirty="0">
                        <a:effectLst/>
                      </a:endParaRPr>
                    </a:p>
                    <a:p>
                      <a:pPr mar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Относительная расширенная неопределённость от 2,2·10</a:t>
                      </a:r>
                      <a:r>
                        <a:rPr lang="ru-RU" sz="1600" baseline="30000" dirty="0">
                          <a:effectLst/>
                        </a:rPr>
                        <a:t>-3</a:t>
                      </a:r>
                      <a:r>
                        <a:rPr lang="ru-RU" sz="1600" dirty="0">
                          <a:effectLst/>
                        </a:rPr>
                        <a:t> до 1,8·10</a:t>
                      </a:r>
                      <a:r>
                        <a:rPr lang="ru-RU" sz="1600" baseline="30000" dirty="0">
                          <a:effectLst/>
                        </a:rPr>
                        <a:t>-3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562774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idx="4294967295"/>
          </p:nvPr>
        </p:nvSpPr>
        <p:spPr>
          <a:xfrm>
            <a:off x="911424" y="333764"/>
            <a:ext cx="11087745" cy="1060227"/>
          </a:xfrm>
        </p:spPr>
        <p:txBody>
          <a:bodyPr>
            <a:normAutofit/>
          </a:bodyPr>
          <a:lstStyle/>
          <a:p>
            <a:r>
              <a:rPr lang="ru-RU" sz="2700" b="1" dirty="0">
                <a:solidFill>
                  <a:srgbClr val="004E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намика создания и утверждения новых типов СО с начала ведения </a:t>
            </a:r>
            <a:br>
              <a:rPr lang="ru-RU" sz="2700" b="1" dirty="0">
                <a:solidFill>
                  <a:srgbClr val="004E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700" b="1" dirty="0">
                <a:solidFill>
                  <a:srgbClr val="004E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естра утвержденных типов стандартных образцов </a:t>
            </a:r>
            <a:br>
              <a:rPr lang="ru-RU" sz="2700" b="1" dirty="0">
                <a:solidFill>
                  <a:srgbClr val="004E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1600" b="1" dirty="0">
              <a:solidFill>
                <a:srgbClr val="004E6B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F3CAADFD-AA32-4703-9DF3-9A4B6D701F59}" type="slidenum">
              <a:rPr lang="ru-RU" sz="1400">
                <a:solidFill>
                  <a:srgbClr val="000000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35360" y="5733256"/>
            <a:ext cx="381700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Общее количество </a:t>
            </a:r>
            <a:r>
              <a:rPr lang="ru-RU" sz="2800" b="1" dirty="0">
                <a:solidFill>
                  <a:srgbClr val="C00000"/>
                </a:solidFill>
              </a:rPr>
              <a:t>13494</a:t>
            </a:r>
            <a:r>
              <a:rPr lang="ru-RU" dirty="0"/>
              <a:t> типа СО</a:t>
            </a:r>
          </a:p>
        </p:txBody>
      </p:sp>
      <p:graphicFrame>
        <p:nvGraphicFramePr>
          <p:cNvPr id="8" name="Диаграмма 7"/>
          <p:cNvGraphicFramePr>
            <a:graphicFrameLocks/>
          </p:cNvGraphicFramePr>
          <p:nvPr/>
        </p:nvGraphicFramePr>
        <p:xfrm>
          <a:off x="368898" y="1268760"/>
          <a:ext cx="11449272" cy="44644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210840373"/>
      </p:ext>
    </p:extLst>
  </p:cSld>
  <p:clrMapOvr>
    <a:masterClrMapping/>
  </p:clrMapOvr>
  <p:transition spd="slow">
    <p:push dir="u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AF9899B-A63F-EBEB-D0FA-65CB7214A30F}"/>
              </a:ext>
            </a:extLst>
          </p:cNvPr>
          <p:cNvSpPr/>
          <p:nvPr/>
        </p:nvSpPr>
        <p:spPr>
          <a:xfrm>
            <a:off x="663752" y="474180"/>
            <a:ext cx="11407598" cy="70788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2000" b="1" dirty="0">
                <a:solidFill>
                  <a:srgbClr val="004E6B"/>
                </a:solidFill>
                <a:latin typeface="Circe Bold" panose="020B0602020203020203" pitchFamily="34" charset="-52"/>
              </a:rPr>
              <a:t>ГПЭ единиц удельной адсорбции газов, удельной поверхности, удельного объема пор, размера пор, открытой пористости и коэффициента газопроницаемости  </a:t>
            </a:r>
            <a:r>
              <a:rPr lang="ru-RU" altLang="ru-RU" sz="2000" b="1" dirty="0">
                <a:solidFill>
                  <a:srgbClr val="FF0000"/>
                </a:solidFill>
                <a:latin typeface="Circe Bold" panose="020B0602020203020203" pitchFamily="34" charset="-52"/>
              </a:rPr>
              <a:t>ГЭТ 210-2019</a:t>
            </a:r>
          </a:p>
        </p:txBody>
      </p:sp>
      <p:sp>
        <p:nvSpPr>
          <p:cNvPr id="35" name="Заголовок 1">
            <a:extLst>
              <a:ext uri="{FF2B5EF4-FFF2-40B4-BE49-F238E27FC236}">
                <a16:creationId xmlns:a16="http://schemas.microsoft.com/office/drawing/2014/main" id="{12BAB892-D5A8-02C1-7B9C-7658951E531E}"/>
              </a:ext>
            </a:extLst>
          </p:cNvPr>
          <p:cNvSpPr txBox="1">
            <a:spLocks/>
          </p:cNvSpPr>
          <p:nvPr/>
        </p:nvSpPr>
        <p:spPr>
          <a:xfrm>
            <a:off x="247029" y="1450103"/>
            <a:ext cx="3347060" cy="6302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rgbClr val="004E6B"/>
                </a:solidFill>
                <a:latin typeface="Circe Bold" panose="020B0602020203020203" pitchFamily="34" charset="-52"/>
                <a:ea typeface="+mj-ea"/>
                <a:cs typeface="+mj-cs"/>
              </a:defRPr>
            </a:lvl1pPr>
          </a:lstStyle>
          <a:p>
            <a:pPr algn="l"/>
            <a:r>
              <a:rPr lang="ru-RU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ТРИЗ – трудноизвлекаемые запасы нефти, которые характеризуются неблагоприятными для извлечения условиями</a:t>
            </a:r>
          </a:p>
          <a:p>
            <a:pPr algn="l"/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6" name="Chart 3">
            <a:extLst>
              <a:ext uri="{FF2B5EF4-FFF2-40B4-BE49-F238E27FC236}">
                <a16:creationId xmlns:a16="http://schemas.microsoft.com/office/drawing/2014/main" id="{8CE58E9D-FE16-E35D-4235-1D779009EDFA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132040" y="1272877"/>
          <a:ext cx="2419350" cy="1568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8"/>
          </a:graphicData>
        </a:graphic>
      </p:graphicFrame>
      <p:sp>
        <p:nvSpPr>
          <p:cNvPr id="37" name="Текст 2">
            <a:extLst>
              <a:ext uri="{FF2B5EF4-FFF2-40B4-BE49-F238E27FC236}">
                <a16:creationId xmlns:a16="http://schemas.microsoft.com/office/drawing/2014/main" id="{EB86D789-CB14-B9A3-0420-7A9E0A4F6B7D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5549677" y="1579339"/>
            <a:ext cx="347663" cy="1651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22DC88-815E-4DE5-A264-FFD297AA377F}" type="datetime'''''''''''''''2''''''''''''''''''''''2%'''''''''''''''''''">
              <a:rPr lang="ru-RU" altLang="en-US" sz="1200" smtClean="0">
                <a:solidFill>
                  <a:schemeClr val="bg1"/>
                </a:solidFill>
                <a:effectLst/>
                <a:latin typeface="Circe" panose="020B060402020202020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%</a:t>
            </a:fld>
            <a:endParaRPr lang="ru-RU" sz="1200" dirty="0">
              <a:solidFill>
                <a:schemeClr val="bg1"/>
              </a:solidFill>
              <a:latin typeface="Circe" panose="020B0604020202020204" charset="0"/>
            </a:endParaRPr>
          </a:p>
        </p:txBody>
      </p:sp>
      <p:sp>
        <p:nvSpPr>
          <p:cNvPr id="38" name="Текст 2">
            <a:extLst>
              <a:ext uri="{FF2B5EF4-FFF2-40B4-BE49-F238E27FC236}">
                <a16:creationId xmlns:a16="http://schemas.microsoft.com/office/drawing/2014/main" id="{9D0F4F49-1AD7-A4ED-63BB-E05BF6B44CE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894165" y="2496914"/>
            <a:ext cx="3429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75F7A89-DB79-4536-B9A7-85A5C525953A}" type="datetime'''''''''''''''''С''''''''''''''''''''''''''''''Ш''''А'''">
              <a:rPr lang="ru-RU" altLang="en-US" sz="1200">
                <a:latin typeface="Circe" panose="020B060402020202020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США</a:t>
            </a:fld>
            <a:endParaRPr lang="ru-RU" sz="1200" dirty="0">
              <a:latin typeface="Circe" panose="020B0604020202020204" charset="0"/>
            </a:endParaRPr>
          </a:p>
        </p:txBody>
      </p:sp>
      <p:sp>
        <p:nvSpPr>
          <p:cNvPr id="39" name="Текст 2">
            <a:extLst>
              <a:ext uri="{FF2B5EF4-FFF2-40B4-BE49-F238E27FC236}">
                <a16:creationId xmlns:a16="http://schemas.microsoft.com/office/drawing/2014/main" id="{2DAF173A-E39F-EE59-2354-20B1D62FC7E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020593" y="1593191"/>
            <a:ext cx="500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B2870D0-D2E5-4D25-B60F-D4E078CC2882}" type="datetime'''''''Ро''с''''''''''''''''с''''''''''''''и''''''''''я'''">
              <a:rPr lang="ru-RU" altLang="en-US" sz="1600">
                <a:latin typeface="Circe" panose="020B0604020202020204" charset="0"/>
              </a:rPr>
              <a:pPr/>
              <a:t>Россия</a:t>
            </a:fld>
            <a:endParaRPr lang="ru-RU" sz="1600" dirty="0">
              <a:latin typeface="Circe" panose="020B0604020202020204" charset="0"/>
            </a:endParaRPr>
          </a:p>
        </p:txBody>
      </p:sp>
      <p:sp>
        <p:nvSpPr>
          <p:cNvPr id="40" name="Текст 2">
            <a:extLst>
              <a:ext uri="{FF2B5EF4-FFF2-40B4-BE49-F238E27FC236}">
                <a16:creationId xmlns:a16="http://schemas.microsoft.com/office/drawing/2014/main" id="{A7D0C819-125A-8898-F206-29DB80279DC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863752" y="1661889"/>
            <a:ext cx="752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8E71001-EEA9-4474-B490-AADE37C28EFD}" type="datetime'А''в''''''''ст''''р''''''а''''''''ли''''''''''''''''''я'''">
              <a:rPr lang="ru-RU" altLang="en-US" sz="1200">
                <a:latin typeface="Circe" panose="020B060402020202020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Австралия</a:t>
            </a:fld>
            <a:endParaRPr lang="ru-RU" sz="1200" dirty="0">
              <a:latin typeface="Circe" panose="020B0604020202020204" charset="0"/>
            </a:endParaRPr>
          </a:p>
        </p:txBody>
      </p:sp>
      <p:sp>
        <p:nvSpPr>
          <p:cNvPr id="41" name="Текст 2">
            <a:extLst>
              <a:ext uri="{FF2B5EF4-FFF2-40B4-BE49-F238E27FC236}">
                <a16:creationId xmlns:a16="http://schemas.microsoft.com/office/drawing/2014/main" id="{AF672280-BB26-2499-BE81-803CDB2F4D4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154265" y="2033364"/>
            <a:ext cx="4349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FF046CE-82B8-42A3-B524-8F7D27FCE71F}" type="datetime'''''''''''''''''''''Л''''''''и''''''в''''''''''''''ия'''''''''">
              <a:rPr lang="ru-RU" altLang="en-US" sz="1200">
                <a:latin typeface="Circe" panose="020B060402020202020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Ливия</a:t>
            </a:fld>
            <a:endParaRPr lang="ru-RU" sz="1200" dirty="0">
              <a:latin typeface="Circe" panose="020B0604020202020204" charset="0"/>
            </a:endParaRPr>
          </a:p>
        </p:txBody>
      </p:sp>
      <p:sp>
        <p:nvSpPr>
          <p:cNvPr id="42" name="Текст 2">
            <a:extLst>
              <a:ext uri="{FF2B5EF4-FFF2-40B4-BE49-F238E27FC236}">
                <a16:creationId xmlns:a16="http://schemas.microsoft.com/office/drawing/2014/main" id="{CBA7C741-62BA-AFCB-C40D-0D6F078AC37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549677" y="2271489"/>
            <a:ext cx="347663" cy="1651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32C1D7-82C8-4921-8834-8B2B7D4475C0}" type="datetime'''''''''''1''''''''''''''7''''''''''''''''''''''''%'''''">
              <a:rPr lang="ru-RU" altLang="en-US" sz="1200" smtClean="0">
                <a:effectLst/>
                <a:latin typeface="Circe" panose="020B060402020202020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endParaRPr lang="ru-RU" sz="1200" dirty="0">
              <a:latin typeface="Circe" panose="020B0604020202020204" charset="0"/>
            </a:endParaRPr>
          </a:p>
        </p:txBody>
      </p:sp>
      <p:sp>
        <p:nvSpPr>
          <p:cNvPr id="43" name="Текст 2">
            <a:extLst>
              <a:ext uri="{FF2B5EF4-FFF2-40B4-BE49-F238E27FC236}">
                <a16:creationId xmlns:a16="http://schemas.microsoft.com/office/drawing/2014/main" id="{B79739E0-B1EB-30D3-E084-CAB7C86E8CC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823836" y="2739267"/>
            <a:ext cx="4127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DB677C1-1C3D-425B-8799-DD43AB9B32EE}" type="datetime'''К''''''''''''''''''и''''т''''''ай'''''''">
              <a:rPr lang="ru-RU" altLang="en-US" sz="1200">
                <a:latin typeface="Circe" panose="020B060402020202020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Китай</a:t>
            </a:fld>
            <a:endParaRPr lang="ru-RU" sz="1200" dirty="0">
              <a:latin typeface="Circe" panose="020B0604020202020204" charset="0"/>
            </a:endParaRPr>
          </a:p>
        </p:txBody>
      </p:sp>
      <p:sp>
        <p:nvSpPr>
          <p:cNvPr id="44" name="Текст 2">
            <a:extLst>
              <a:ext uri="{FF2B5EF4-FFF2-40B4-BE49-F238E27FC236}">
                <a16:creationId xmlns:a16="http://schemas.microsoft.com/office/drawing/2014/main" id="{1A7AC428-8D8A-70F2-E443-5593BD6A906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686077" y="1750789"/>
            <a:ext cx="263525" cy="1651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2FAEFF-57D5-4879-923A-94FEBAC26A9F}" type="datetime'''''''''''''''''''''''5''''''''''%'''''''''''''''">
              <a:rPr lang="ru-RU" altLang="en-US" sz="1200" smtClean="0">
                <a:solidFill>
                  <a:schemeClr val="bg1"/>
                </a:solidFill>
                <a:effectLst/>
                <a:latin typeface="Circe" panose="020B060402020202020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endParaRPr lang="ru-RU" sz="1200" dirty="0">
              <a:solidFill>
                <a:schemeClr val="bg1"/>
              </a:solidFill>
              <a:latin typeface="Circe" panose="020B0604020202020204" charset="0"/>
            </a:endParaRPr>
          </a:p>
        </p:txBody>
      </p:sp>
      <p:sp>
        <p:nvSpPr>
          <p:cNvPr id="45" name="Текст 2">
            <a:extLst>
              <a:ext uri="{FF2B5EF4-FFF2-40B4-BE49-F238E27FC236}">
                <a16:creationId xmlns:a16="http://schemas.microsoft.com/office/drawing/2014/main" id="{27668B71-FD5E-B223-C5CC-2CABF86588A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060602" y="2496914"/>
            <a:ext cx="730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D09C0BD-C09B-4E80-BD43-89B1C76EFFE7}" type="datetime'''''''Ар''''''''''''г''''ен''''''''ти''''на'''''''''''">
              <a:rPr lang="ru-RU" altLang="en-US" sz="1200">
                <a:latin typeface="Circe" panose="020B060402020202020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Аргентина</a:t>
            </a:fld>
            <a:endParaRPr lang="ru-RU" sz="1200" dirty="0">
              <a:latin typeface="Circe" panose="020B0604020202020204" charset="0"/>
            </a:endParaRPr>
          </a:p>
        </p:txBody>
      </p:sp>
      <p:sp>
        <p:nvSpPr>
          <p:cNvPr id="46" name="Текст 2">
            <a:extLst>
              <a:ext uri="{FF2B5EF4-FFF2-40B4-BE49-F238E27FC236}">
                <a16:creationId xmlns:a16="http://schemas.microsoft.com/office/drawing/2014/main" id="{2104398B-E443-0F8A-A3BA-BCCA080075C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529137" y="1343967"/>
            <a:ext cx="3873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87D21BB-747D-432E-BF64-6059F8B31103}" type="datetime'''''''''''''И''н''''ы''''''''''''е'''''''''''''''''''''''">
              <a:rPr lang="ru-RU" altLang="en-US" sz="1200">
                <a:latin typeface="Circe" panose="020B0604020202020204" charset="0"/>
              </a:rPr>
              <a:pPr/>
              <a:t>Иные</a:t>
            </a:fld>
            <a:endParaRPr lang="ru-RU" sz="1200" dirty="0">
              <a:latin typeface="Circe" panose="020B060402020202020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CFA0EB9-722E-6B50-9EFE-953AAB237628}"/>
              </a:ext>
            </a:extLst>
          </p:cNvPr>
          <p:cNvSpPr txBox="1"/>
          <p:nvPr/>
        </p:nvSpPr>
        <p:spPr>
          <a:xfrm>
            <a:off x="7123113" y="1228729"/>
            <a:ext cx="4575099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dirty="0">
                <a:effectLst/>
                <a:latin typeface="Circe Bold" panose="020B0602020203020203" pitchFamily="3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Цель модернизации</a:t>
            </a:r>
          </a:p>
          <a:p>
            <a:pPr algn="ctr"/>
            <a:r>
              <a:rPr lang="ru-RU" dirty="0">
                <a:effectLst/>
                <a:latin typeface="Circe Bold" panose="020B0602020203020203" pitchFamily="3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Расширение диапазона воспроизведения коэффициента газопроницаемости на 4 порядка в область низких значений </a:t>
            </a:r>
          </a:p>
          <a:p>
            <a:pPr algn="ctr"/>
            <a:r>
              <a:rPr lang="ru-RU" dirty="0">
                <a:effectLst/>
                <a:latin typeface="Circe Bold" panose="020B0602020203020203" pitchFamily="3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от 1·10</a:t>
            </a:r>
            <a:r>
              <a:rPr lang="ru-RU" baseline="30000" dirty="0">
                <a:effectLst/>
                <a:latin typeface="Circe Bold" panose="020B0602020203020203" pitchFamily="3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-3</a:t>
            </a:r>
            <a:r>
              <a:rPr lang="ru-RU" dirty="0">
                <a:effectLst/>
                <a:latin typeface="Circe Bold" panose="020B0602020203020203" pitchFamily="3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 до 1·10</a:t>
            </a:r>
            <a:r>
              <a:rPr lang="ru-RU" baseline="30000" dirty="0">
                <a:effectLst/>
                <a:latin typeface="Circe Bold" panose="020B0602020203020203" pitchFamily="3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-7</a:t>
            </a:r>
            <a:r>
              <a:rPr lang="ru-RU" dirty="0">
                <a:effectLst/>
                <a:latin typeface="Circe Bold" panose="020B0602020203020203" pitchFamily="3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 мкм</a:t>
            </a:r>
            <a:r>
              <a:rPr lang="ru-RU" baseline="30000" dirty="0">
                <a:effectLst/>
                <a:latin typeface="Circe Bold" panose="020B0602020203020203" pitchFamily="3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dirty="0">
                <a:effectLst/>
                <a:latin typeface="Circe Bold" panose="020B0602020203020203" pitchFamily="3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dirty="0">
              <a:latin typeface="Circe Bold" panose="020B0602020203020203" pitchFamily="34" charset="-52"/>
              <a:cs typeface="Arial" panose="020B0604020202020204" pitchFamily="34" charset="0"/>
            </a:endParaRPr>
          </a:p>
        </p:txBody>
      </p:sp>
      <p:graphicFrame>
        <p:nvGraphicFramePr>
          <p:cNvPr id="48" name="Chart 3">
            <a:extLst>
              <a:ext uri="{FF2B5EF4-FFF2-40B4-BE49-F238E27FC236}">
                <a16:creationId xmlns:a16="http://schemas.microsoft.com/office/drawing/2014/main" id="{F997AC5D-CA9E-778C-9ABB-B64C2FF7B707}"/>
              </a:ext>
            </a:extLst>
          </p:cNvPr>
          <p:cNvGraphicFramePr/>
          <p:nvPr>
            <p:custDataLst>
              <p:tags r:id="rId12"/>
            </p:custDataLst>
          </p:nvPr>
        </p:nvGraphicFramePr>
        <p:xfrm>
          <a:off x="412750" y="3229297"/>
          <a:ext cx="1643063" cy="1643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9"/>
          </a:graphicData>
        </a:graphic>
      </p:graphicFrame>
      <p:sp>
        <p:nvSpPr>
          <p:cNvPr id="49" name="Текст 2">
            <a:extLst>
              <a:ext uri="{FF2B5EF4-FFF2-40B4-BE49-F238E27FC236}">
                <a16:creationId xmlns:a16="http://schemas.microsoft.com/office/drawing/2014/main" id="{91EAB648-9C34-B915-D116-68545D3CE17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625600" y="3967485"/>
            <a:ext cx="347663" cy="165100"/>
          </a:xfrm>
          <a:prstGeom prst="rect">
            <a:avLst/>
          </a:prstGeom>
          <a:solidFill>
            <a:srgbClr val="DFE5E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86CED4-3176-41BB-B813-449106056498}" type="datetime'4''''''''''''''''1%'">
              <a:rPr lang="ru-RU" altLang="en-US" sz="1200" smtClean="0">
                <a:effectLst/>
                <a:latin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%</a:t>
            </a:fld>
            <a:endParaRPr lang="ru-RU" sz="12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0" name="Текст 2">
            <a:extLst>
              <a:ext uri="{FF2B5EF4-FFF2-40B4-BE49-F238E27FC236}">
                <a16:creationId xmlns:a16="http://schemas.microsoft.com/office/drawing/2014/main" id="{92DA3953-7FB4-816F-2549-6F6A8431D00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024063" y="3967485"/>
            <a:ext cx="3968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CCDAE6B-04E0-44EA-9365-1DEE69677056}" type="datetime'Т''''''''''''''''''Р''''''''''И''''''''''''''З'''''''''">
              <a:rPr lang="ru-RU" altLang="en-US" sz="12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ТРИЗ</a:t>
            </a:fld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1" name="Текст 2">
            <a:extLst>
              <a:ext uri="{FF2B5EF4-FFF2-40B4-BE49-F238E27FC236}">
                <a16:creationId xmlns:a16="http://schemas.microsoft.com/office/drawing/2014/main" id="{805F98EF-EE18-9E92-BEDD-D4893F7D688C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09588" y="4053210"/>
            <a:ext cx="347663" cy="165100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719D72-A897-4115-9DE8-84F32E09EEF1}" type="datetime'''''''''''''''''''''''''5''''''''''''5%'''''''''">
              <a:rPr lang="ru-RU" altLang="en-US" sz="1200" smtClean="0">
                <a:effectLst/>
                <a:latin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%</a:t>
            </a:fld>
            <a:endParaRPr lang="ru-RU" sz="12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" name="Текст 2">
            <a:extLst>
              <a:ext uri="{FF2B5EF4-FFF2-40B4-BE49-F238E27FC236}">
                <a16:creationId xmlns:a16="http://schemas.microsoft.com/office/drawing/2014/main" id="{87F7F277-5513-A6C9-B450-9D99D079704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187450" y="3354710"/>
            <a:ext cx="263525" cy="165100"/>
          </a:xfrm>
          <a:prstGeom prst="rect">
            <a:avLst/>
          </a:prstGeom>
          <a:solidFill>
            <a:srgbClr val="9DB1C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8A8A83E-F120-4246-965F-1376858C94E7}" type="datetime'''''''''''''5''''''''''''''%'''''''''''''''''''''''''''''''">
              <a:rPr lang="ru-RU" altLang="en-US" sz="1200" smtClean="0">
                <a:effectLst/>
                <a:latin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endParaRPr lang="ru-RU" sz="12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" name="Текст 2">
            <a:extLst>
              <a:ext uri="{FF2B5EF4-FFF2-40B4-BE49-F238E27FC236}">
                <a16:creationId xmlns:a16="http://schemas.microsoft.com/office/drawing/2014/main" id="{2EFBCB88-D44E-59C9-BAEC-35BF506353F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62025" y="3719835"/>
            <a:ext cx="541338" cy="660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Запасы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России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29,9 млрд т</a:t>
            </a:r>
          </a:p>
        </p:txBody>
      </p:sp>
      <p:sp>
        <p:nvSpPr>
          <p:cNvPr id="54" name="Текст 2">
            <a:extLst>
              <a:ext uri="{FF2B5EF4-FFF2-40B4-BE49-F238E27FC236}">
                <a16:creationId xmlns:a16="http://schemas.microsoft.com/office/drawing/2014/main" id="{54585D38-90BE-6575-F9BA-D12B42EFD50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-90487" y="4321175"/>
            <a:ext cx="612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A4E0354-0D4F-4819-B6CA-6F38517FA835}" type="datetime'''''''''''''''''''''П''''''р''''''о''''''''''''''''''ч''ие'''">
              <a:rPr lang="ru-RU" altLang="en-US" sz="12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Прочие</a:t>
            </a:fld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Текст 2">
            <a:extLst>
              <a:ext uri="{FF2B5EF4-FFF2-40B4-BE49-F238E27FC236}">
                <a16:creationId xmlns:a16="http://schemas.microsoft.com/office/drawing/2014/main" id="{7018C73B-1D78-2E0F-DD08-CBA473F4028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09637" y="3068960"/>
            <a:ext cx="58737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0625931-B12D-40DA-B64D-A617917CBBB7}" type="datetime'''''''''''''''''''''Ш''''''''''''е''''''''''''''ль''''''ф'">
              <a:rPr lang="ru-RU" altLang="en-US" sz="12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Шельф</a:t>
            </a:fld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6" name="Chart 3">
            <a:extLst>
              <a:ext uri="{FF2B5EF4-FFF2-40B4-BE49-F238E27FC236}">
                <a16:creationId xmlns:a16="http://schemas.microsoft.com/office/drawing/2014/main" id="{C9CF6FE3-830D-BE74-FE66-5E8F7870D075}"/>
              </a:ext>
            </a:extLst>
          </p:cNvPr>
          <p:cNvGraphicFramePr/>
          <p:nvPr>
            <p:custDataLst>
              <p:tags r:id="rId20"/>
            </p:custDataLst>
          </p:nvPr>
        </p:nvGraphicFramePr>
        <p:xfrm>
          <a:off x="2909888" y="3289622"/>
          <a:ext cx="2300287" cy="1582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sp>
        <p:nvSpPr>
          <p:cNvPr id="57" name="Текст 2">
            <a:extLst>
              <a:ext uri="{FF2B5EF4-FFF2-40B4-BE49-F238E27FC236}">
                <a16:creationId xmlns:a16="http://schemas.microsoft.com/office/drawing/2014/main" id="{50C6A50C-4214-25BA-C3DA-29A4CE7221B4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592388" y="4046860"/>
            <a:ext cx="706438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C226AB1-0D0C-441C-80A8-683D329E560E}" type="datetime'Д''о''ю''''''''''р''''''''ск''''и''''е&#10; о''''''т''''''ложения'">
              <a:rPr lang="ru-RU" altLang="en-US" sz="1050" smtClean="0">
                <a:latin typeface="Arial" panose="020B0604020202020204" pitchFamily="34" charset="0"/>
              </a:rPr>
              <a:pPr/>
              <a:t>Доюрские
 отложения</a:t>
            </a:fld>
            <a:endParaRPr lang="ru-RU" sz="105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8" name="Текст 2">
            <a:extLst>
              <a:ext uri="{FF2B5EF4-FFF2-40B4-BE49-F238E27FC236}">
                <a16:creationId xmlns:a16="http://schemas.microsoft.com/office/drawing/2014/main" id="{3D3CDA23-91A8-463A-B480-39BF0569B31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919538" y="4821560"/>
            <a:ext cx="29686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A4EEA30-4F32-4506-AF5C-1534ECBA0071}" type="datetime'''''''''С''''''''''В''''''''''''''Н'">
              <a:rPr lang="ru-RU" altLang="en-US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СВН</a:t>
            </a:fld>
            <a:endParaRPr lang="ru-RU" sz="11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Текст 2">
            <a:extLst>
              <a:ext uri="{FF2B5EF4-FFF2-40B4-BE49-F238E27FC236}">
                <a16:creationId xmlns:a16="http://schemas.microsoft.com/office/drawing/2014/main" id="{AE5CF830-9FFC-A483-8267-A162812AF7F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368800" y="3753172"/>
            <a:ext cx="320675" cy="150813"/>
          </a:xfrm>
          <a:prstGeom prst="rect">
            <a:avLst/>
          </a:prstGeom>
          <a:solidFill>
            <a:srgbClr val="DFE5EF"/>
          </a:solidFill>
          <a:ln>
            <a:noFill/>
          </a:ln>
          <a:effectLst/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F8E51C7-037B-4B35-AD47-EA053BCB39E8}" type="datetime'''''''''''''3''''''''''''''4''''''''''''''''''%'''">
              <a:rPr lang="ru-RU" altLang="en-US" sz="1100" smtClean="0">
                <a:effectLst/>
                <a:latin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%</a:t>
            </a:fld>
            <a:endParaRPr lang="ru-RU" sz="11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0" name="Текст 2">
            <a:extLst>
              <a:ext uri="{FF2B5EF4-FFF2-40B4-BE49-F238E27FC236}">
                <a16:creationId xmlns:a16="http://schemas.microsoft.com/office/drawing/2014/main" id="{FA83EC05-CC2E-29FE-EDF2-2BC50B73D39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624138" y="3432497"/>
            <a:ext cx="766763" cy="30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009B24A-99C3-4C20-8A0A-52889ECC05D7}" type="datetime'Т''ю''менска''''я ''&#10;с''''''в''''''''''''''и''''''''''''''та'">
              <a:rPr lang="ru-RU" altLang="en-US" sz="1100" smtClean="0">
                <a:latin typeface="Arial" panose="020B0604020202020204" pitchFamily="34" charset="0"/>
              </a:rPr>
              <a:pPr/>
              <a:t>Тюменская 
свита</a:t>
            </a:fld>
            <a:endParaRPr lang="ru-RU" sz="11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" name="Текст 2">
            <a:extLst>
              <a:ext uri="{FF2B5EF4-FFF2-40B4-BE49-F238E27FC236}">
                <a16:creationId xmlns:a16="http://schemas.microsoft.com/office/drawing/2014/main" id="{9F233068-64DE-164B-12EF-57B1EE6A4101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756150" y="3533775"/>
            <a:ext cx="15017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27AAA86-C074-4024-9DAF-DE4A47A2A9D4}" type="datetime'''Низко''''пр''''ониц''аемые''''''''&#10; п''л''а''с''''ты'''''">
              <a:rPr lang="ru-RU" altLang="en-US" sz="1200" b="1" smtClean="0">
                <a:latin typeface="Arial" panose="020B0604020202020204" pitchFamily="34" charset="0"/>
              </a:rPr>
              <a:pPr/>
              <a:t>Низкопроницаемые
 пласты</a:t>
            </a:fld>
            <a:endParaRPr lang="ru-RU" sz="11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Текст 2">
            <a:extLst>
              <a:ext uri="{FF2B5EF4-FFF2-40B4-BE49-F238E27FC236}">
                <a16:creationId xmlns:a16="http://schemas.microsoft.com/office/drawing/2014/main" id="{1222A5F8-8002-BDB8-00BD-70A88E97B5D0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617788" y="4437385"/>
            <a:ext cx="781050" cy="30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D451D9F-A6F8-4B91-AAB9-1DE6FA783391}" type="datetime'Ачимо''вс''''''ки''е''&#10; ''з''''''''а''ле''''''''ж''''и'''">
              <a:rPr lang="ru-RU" altLang="en-US" sz="1100" smtClean="0">
                <a:latin typeface="Arial" panose="020B0604020202020204" pitchFamily="34" charset="0"/>
              </a:rPr>
              <a:pPr/>
              <a:t>Ачимовские
 залежи</a:t>
            </a:fld>
            <a:endParaRPr lang="ru-RU" sz="11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Текст 2">
            <a:extLst>
              <a:ext uri="{FF2B5EF4-FFF2-40B4-BE49-F238E27FC236}">
                <a16:creationId xmlns:a16="http://schemas.microsoft.com/office/drawing/2014/main" id="{9293ACAE-922A-54CB-391F-15142F9C29AC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505325" y="4670747"/>
            <a:ext cx="1082675" cy="603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B1485CC-800C-441A-BE23-5DBD9857D53C}" type="datetime'Баженовская, &#10;доманиковая, &#10;абал''ак''ская, &#10;хадумская свита'">
              <a:rPr lang="ru-RU" altLang="en-US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Баженовская, 
доманиковая, 
абалакская, 
хадумская свита</a:t>
            </a:fld>
            <a:endParaRPr lang="ru-RU" sz="11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Текст 2">
            <a:extLst>
              <a:ext uri="{FF2B5EF4-FFF2-40B4-BE49-F238E27FC236}">
                <a16:creationId xmlns:a16="http://schemas.microsoft.com/office/drawing/2014/main" id="{5003EE89-0CE7-0D9F-9BE7-143649249F2B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514725" y="3627760"/>
            <a:ext cx="320675" cy="150813"/>
          </a:xfrm>
          <a:prstGeom prst="rect">
            <a:avLst/>
          </a:prstGeom>
          <a:solidFill>
            <a:srgbClr val="364D6E"/>
          </a:solidFill>
          <a:ln>
            <a:noFill/>
          </a:ln>
          <a:effectLst/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B28E4E-75B3-4AD6-ACE2-79D6F22CBBAD}" type="datetime'''''''''''''''''''''''2''''''''5''''''''''''''%'">
              <a:rPr lang="ru-RU" altLang="en-US" sz="1100" smtClean="0">
                <a:solidFill>
                  <a:schemeClr val="bg1"/>
                </a:solidFill>
                <a:effectLst/>
                <a:latin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%</a:t>
            </a:fld>
            <a:endParaRPr lang="ru-RU" sz="1100" dirty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Текст 2">
            <a:extLst>
              <a:ext uri="{FF2B5EF4-FFF2-40B4-BE49-F238E27FC236}">
                <a16:creationId xmlns:a16="http://schemas.microsoft.com/office/drawing/2014/main" id="{B95FFCF3-59F4-181F-F398-2A7CF3139E3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776663" y="3792860"/>
            <a:ext cx="565150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ТРИЗ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12,2 млрд т</a:t>
            </a:r>
          </a:p>
        </p:txBody>
      </p:sp>
      <p:sp>
        <p:nvSpPr>
          <p:cNvPr id="66" name="Текст 2">
            <a:extLst>
              <a:ext uri="{FF2B5EF4-FFF2-40B4-BE49-F238E27FC236}">
                <a16:creationId xmlns:a16="http://schemas.microsoft.com/office/drawing/2014/main" id="{5E46D98D-26BF-ABA8-9620-EC238EC78122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5057552" y="1782539"/>
            <a:ext cx="568325" cy="452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100" dirty="0">
                <a:effectLst/>
                <a:latin typeface="Circe" panose="020B0604020202020204" charset="0"/>
              </a:rPr>
              <a:t>Доля ТРИЗ по странам</a:t>
            </a:r>
            <a:endParaRPr lang="ru-RU" sz="1100" dirty="0">
              <a:latin typeface="Circe" panose="020B0604020202020204" charset="0"/>
            </a:endParaRPr>
          </a:p>
        </p:txBody>
      </p:sp>
      <p:sp>
        <p:nvSpPr>
          <p:cNvPr id="67" name="Заголовок 1">
            <a:extLst>
              <a:ext uri="{FF2B5EF4-FFF2-40B4-BE49-F238E27FC236}">
                <a16:creationId xmlns:a16="http://schemas.microsoft.com/office/drawing/2014/main" id="{CC304295-9830-59E0-8DCD-A8B5A879594E}"/>
              </a:ext>
            </a:extLst>
          </p:cNvPr>
          <p:cNvSpPr txBox="1">
            <a:spLocks/>
          </p:cNvSpPr>
          <p:nvPr/>
        </p:nvSpPr>
        <p:spPr>
          <a:xfrm>
            <a:off x="311614" y="2326009"/>
            <a:ext cx="2876156" cy="473075"/>
          </a:xfrm>
          <a:prstGeom prst="rect">
            <a:avLst/>
          </a:prstGeom>
          <a:solidFill>
            <a:srgbClr val="E7F0F9"/>
          </a:solidFill>
          <a:ln>
            <a:solidFill>
              <a:schemeClr val="tx1"/>
            </a:solidFill>
          </a:ln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rgbClr val="004E6B"/>
                </a:solidFill>
                <a:latin typeface="Circe Bold" panose="020B0602020203020203" pitchFamily="34" charset="-52"/>
                <a:ea typeface="+mj-ea"/>
                <a:cs typeface="+mj-cs"/>
              </a:defRPr>
            </a:lvl1pPr>
          </a:lstStyle>
          <a:p>
            <a:r>
              <a:rPr lang="ru-RU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Россия является лидером по запасам ТРИЗ</a:t>
            </a:r>
          </a:p>
          <a:p>
            <a:pPr algn="l"/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id="{939D178A-4649-FD5F-D855-47A6857F5CC0}"/>
              </a:ext>
            </a:extLst>
          </p:cNvPr>
          <p:cNvCxnSpPr>
            <a:cxnSpLocks/>
          </p:cNvCxnSpPr>
          <p:nvPr/>
        </p:nvCxnSpPr>
        <p:spPr>
          <a:xfrm>
            <a:off x="1450975" y="4799335"/>
            <a:ext cx="2452229" cy="14288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>
            <a:extLst>
              <a:ext uri="{FF2B5EF4-FFF2-40B4-BE49-F238E27FC236}">
                <a16:creationId xmlns:a16="http://schemas.microsoft.com/office/drawing/2014/main" id="{EA6526E9-A0AC-55E2-759C-C722EA77BD32}"/>
              </a:ext>
            </a:extLst>
          </p:cNvPr>
          <p:cNvCxnSpPr>
            <a:cxnSpLocks/>
          </p:cNvCxnSpPr>
          <p:nvPr/>
        </p:nvCxnSpPr>
        <p:spPr>
          <a:xfrm>
            <a:off x="1465263" y="3305497"/>
            <a:ext cx="2454275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DE1A0075-CD1D-0508-E087-0C23823689E5}"/>
              </a:ext>
            </a:extLst>
          </p:cNvPr>
          <p:cNvSpPr txBox="1"/>
          <p:nvPr/>
        </p:nvSpPr>
        <p:spPr>
          <a:xfrm>
            <a:off x="1420846" y="5030068"/>
            <a:ext cx="365597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Структура извлекаемых запасов России</a:t>
            </a:r>
          </a:p>
        </p:txBody>
      </p:sp>
      <p:cxnSp>
        <p:nvCxnSpPr>
          <p:cNvPr id="71" name="Прямая соединительная линия 70">
            <a:extLst>
              <a:ext uri="{FF2B5EF4-FFF2-40B4-BE49-F238E27FC236}">
                <a16:creationId xmlns:a16="http://schemas.microsoft.com/office/drawing/2014/main" id="{9BFB1BB5-2C07-25EF-FED9-D6CCD7DB958F}"/>
              </a:ext>
            </a:extLst>
          </p:cNvPr>
          <p:cNvCxnSpPr>
            <a:cxnSpLocks/>
          </p:cNvCxnSpPr>
          <p:nvPr/>
        </p:nvCxnSpPr>
        <p:spPr>
          <a:xfrm flipV="1">
            <a:off x="157493" y="2905973"/>
            <a:ext cx="11847181" cy="35087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2" name="Chart 3">
            <a:extLst>
              <a:ext uri="{FF2B5EF4-FFF2-40B4-BE49-F238E27FC236}">
                <a16:creationId xmlns:a16="http://schemas.microsoft.com/office/drawing/2014/main" id="{70D039D4-E226-65F0-6982-C4217209411A}"/>
              </a:ext>
            </a:extLst>
          </p:cNvPr>
          <p:cNvGraphicFramePr/>
          <p:nvPr>
            <p:custDataLst>
              <p:tags r:id="rId31"/>
            </p:custDataLst>
          </p:nvPr>
        </p:nvGraphicFramePr>
        <p:xfrm>
          <a:off x="6270625" y="2876550"/>
          <a:ext cx="5973763" cy="1841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1"/>
          </a:graphicData>
        </a:graphic>
      </p:graphicFrame>
      <p:sp>
        <p:nvSpPr>
          <p:cNvPr id="73" name="Текст 2">
            <a:extLst>
              <a:ext uri="{FF2B5EF4-FFF2-40B4-BE49-F238E27FC236}">
                <a16:creationId xmlns:a16="http://schemas.microsoft.com/office/drawing/2014/main" id="{20E20417-499F-B237-14D7-ED71D47E966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0694988" y="4760913"/>
            <a:ext cx="444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1ED455-E886-4C96-A774-D940E2AC88EA}" type="datetime'''''''''''''''''''''''''Ш''''''''е''ль''''ф''''''''''''''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Шельф</a:t>
            </a:fld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Текст 2">
            <a:extLst>
              <a:ext uri="{FF2B5EF4-FFF2-40B4-BE49-F238E27FC236}">
                <a16:creationId xmlns:a16="http://schemas.microsoft.com/office/drawing/2014/main" id="{ABDDC7EE-74AC-5E78-626C-90558DE3123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9109075" y="4519613"/>
            <a:ext cx="296863" cy="165100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8C048B-62B3-4685-ACD8-3EE5961A7142}" type="datetime'''''''''''''''''''''1''''''9''''''''''''''''''''9'''''">
              <a:rPr lang="ru-RU" altLang="en-US" sz="1200" smtClean="0">
                <a:effectLst/>
                <a:latin typeface="Circe" panose="020B060402020202020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9</a:t>
            </a:fld>
            <a:endParaRPr lang="ru-RU" sz="1200" dirty="0">
              <a:latin typeface="Circe" panose="020B0604020202020204" charset="0"/>
            </a:endParaRPr>
          </a:p>
        </p:txBody>
      </p:sp>
      <p:sp>
        <p:nvSpPr>
          <p:cNvPr id="75" name="Текст 2">
            <a:extLst>
              <a:ext uri="{FF2B5EF4-FFF2-40B4-BE49-F238E27FC236}">
                <a16:creationId xmlns:a16="http://schemas.microsoft.com/office/drawing/2014/main" id="{11F9C6C0-4DE0-586C-9514-EEC8949883C7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6624638" y="4500563"/>
            <a:ext cx="285750" cy="165100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6556A4-9216-4142-B86B-08EB65D5C03A}" type="datetime'''''''3''''''''''''''''''''''''''''''1''''''''''1'''''''''''">
              <a:rPr lang="ru-RU" altLang="en-US" sz="1200" smtClean="0">
                <a:effectLst/>
                <a:latin typeface="Circe" panose="020B060402020202020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1</a:t>
            </a:fld>
            <a:endParaRPr lang="ru-RU" sz="1200" dirty="0">
              <a:latin typeface="Circe" panose="020B0604020202020204" charset="0"/>
            </a:endParaRPr>
          </a:p>
        </p:txBody>
      </p:sp>
      <p:sp>
        <p:nvSpPr>
          <p:cNvPr id="76" name="Текст 2">
            <a:extLst>
              <a:ext uri="{FF2B5EF4-FFF2-40B4-BE49-F238E27FC236}">
                <a16:creationId xmlns:a16="http://schemas.microsoft.com/office/drawing/2014/main" id="{0633933F-E6EE-01DD-32B9-D4665A83936E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627813" y="4760913"/>
            <a:ext cx="2809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060AE8-DA69-4F6D-8644-A588CBBB580C}" type="datetime'''''С''''''''''''''''''''''''''''''''''''''''''''''В''''Н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СВН</a:t>
            </a:fld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Текст 2">
            <a:extLst>
              <a:ext uri="{FF2B5EF4-FFF2-40B4-BE49-F238E27FC236}">
                <a16:creationId xmlns:a16="http://schemas.microsoft.com/office/drawing/2014/main" id="{87980824-B385-E3B5-DEAA-6922CAA06C72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081838" y="4760913"/>
            <a:ext cx="10334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5AA04F-51B4-4504-99C5-1844C44041CD}" type="datetime'Н''изк''о''''прони''цае''''''-''''''''''&#10;мые'''''' пл''асты'">
              <a:rPr lang="ru-RU" altLang="en-US" sz="1000" b="1" smtClean="0">
                <a:latin typeface="Arial" panose="020B0604020202020204" pitchFamily="34" charset="0"/>
              </a:rPr>
              <a:pPr/>
              <a:t>Низкопроницае-
мые пласты</a:t>
            </a:fld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Текст 2">
            <a:extLst>
              <a:ext uri="{FF2B5EF4-FFF2-40B4-BE49-F238E27FC236}">
                <a16:creationId xmlns:a16="http://schemas.microsoft.com/office/drawing/2014/main" id="{904B5105-EAD6-2079-BEA5-5A8238C59246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8278813" y="4495800"/>
            <a:ext cx="296863" cy="165100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3DCEA0-2349-4EA2-89C3-B038863A23F7}" type="datetime'''''3''''''3''''''6'''''">
              <a:rPr lang="ru-RU" altLang="en-US" sz="1200" smtClean="0">
                <a:effectLst/>
                <a:latin typeface="Circe" panose="020B060402020202020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6</a:t>
            </a:fld>
            <a:endParaRPr lang="ru-RU" sz="1200" dirty="0">
              <a:latin typeface="Circe" panose="020B0604020202020204" charset="0"/>
            </a:endParaRPr>
          </a:p>
        </p:txBody>
      </p:sp>
      <p:sp>
        <p:nvSpPr>
          <p:cNvPr id="79" name="Текст 2">
            <a:extLst>
              <a:ext uri="{FF2B5EF4-FFF2-40B4-BE49-F238E27FC236}">
                <a16:creationId xmlns:a16="http://schemas.microsoft.com/office/drawing/2014/main" id="{9447607F-EA0C-EADC-8B2C-0E64060F16D4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9875838" y="4087813"/>
            <a:ext cx="4238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3B2DEB-F93C-4FD9-B03B-2B91314A07F4}" type="datetime'''''''1'''''' ''''''''''''''''''''''''0''6''''''''''''''8'''''">
              <a:rPr lang="ru-RU" altLang="en-US" sz="1200" smtClean="0">
                <a:effectLst/>
                <a:latin typeface="Circe" panose="020B060402020202020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 068</a:t>
            </a:fld>
            <a:endParaRPr lang="ru-RU" sz="1200" dirty="0">
              <a:latin typeface="Circe" panose="020B0604020202020204" charset="0"/>
            </a:endParaRPr>
          </a:p>
        </p:txBody>
      </p:sp>
      <p:sp>
        <p:nvSpPr>
          <p:cNvPr id="80" name="Текст 2">
            <a:extLst>
              <a:ext uri="{FF2B5EF4-FFF2-40B4-BE49-F238E27FC236}">
                <a16:creationId xmlns:a16="http://schemas.microsoft.com/office/drawing/2014/main" id="{1EA888D8-3A74-45F0-3F6C-0C9D395B8A9E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11682413" y="4552950"/>
            <a:ext cx="128588" cy="165100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E10DCC-4E0D-4393-856F-CFBF7808ECEB}" type="datetime'''''''''''0'''''''''''''''">
              <a:rPr lang="ru-RU" altLang="en-US" sz="1200" smtClean="0">
                <a:effectLst/>
                <a:latin typeface="Circe" panose="020B060402020202020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ru-RU" sz="1200" dirty="0">
              <a:latin typeface="Circe" panose="020B0604020202020204" charset="0"/>
            </a:endParaRPr>
          </a:p>
        </p:txBody>
      </p:sp>
      <p:sp>
        <p:nvSpPr>
          <p:cNvPr id="81" name="Текст 2">
            <a:extLst>
              <a:ext uri="{FF2B5EF4-FFF2-40B4-BE49-F238E27FC236}">
                <a16:creationId xmlns:a16="http://schemas.microsoft.com/office/drawing/2014/main" id="{D82ACEF8-5E56-8D02-2E55-1594CB845879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8091488" y="4760913"/>
            <a:ext cx="669925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64D49D-7A94-42CF-8B4A-2AAC987C03B2}" type="datetime'''''''Тю''''''м''''''ен''с''''к''ая''''''''''''''''&#10;с''ви''та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Тюменская
свита</a:t>
            </a:fld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Текст 2">
            <a:extLst>
              <a:ext uri="{FF2B5EF4-FFF2-40B4-BE49-F238E27FC236}">
                <a16:creationId xmlns:a16="http://schemas.microsoft.com/office/drawing/2014/main" id="{BFA57F7C-5D06-31A2-766C-16B3F6D36D6B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6556375" y="4016375"/>
            <a:ext cx="4238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D19C2E-2F0E-4958-BB04-B1C94EC4DE7E}" type="datetime'''1'''''' ''''2''''''''''''''''''7''''''''''''''7'''''''''''''">
              <a:rPr lang="ru-RU" altLang="en-US" sz="1200" smtClean="0">
                <a:effectLst/>
                <a:latin typeface="Circe" panose="020B060402020202020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 277</a:t>
            </a:fld>
            <a:endParaRPr lang="ru-RU" sz="1200" dirty="0">
              <a:latin typeface="Circe" panose="020B0604020202020204" charset="0"/>
            </a:endParaRPr>
          </a:p>
        </p:txBody>
      </p:sp>
      <p:sp>
        <p:nvSpPr>
          <p:cNvPr id="83" name="Текст 2">
            <a:extLst>
              <a:ext uri="{FF2B5EF4-FFF2-40B4-BE49-F238E27FC236}">
                <a16:creationId xmlns:a16="http://schemas.microsoft.com/office/drawing/2014/main" id="{760A75F4-1C53-9A87-4E68-E2CC0FB5726C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9980613" y="4543425"/>
            <a:ext cx="212725" cy="165100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381FD3-DAD1-4DD3-8C75-065F30ACD72B}" type="datetime'''5''''''''''''''''''''''''''''''7'''''''''''''''">
              <a:rPr lang="ru-RU" altLang="en-US" sz="1200" smtClean="0">
                <a:effectLst/>
                <a:latin typeface="Circe" panose="020B0604020202020204" charset="0"/>
              </a:rPr>
              <a:pPr/>
              <a:t>57</a:t>
            </a:fld>
            <a:endParaRPr lang="ru-RU" sz="1200" dirty="0">
              <a:latin typeface="Circe" panose="020B0604020202020204" charset="0"/>
            </a:endParaRPr>
          </a:p>
        </p:txBody>
      </p:sp>
      <p:sp>
        <p:nvSpPr>
          <p:cNvPr id="84" name="Текст 2">
            <a:extLst>
              <a:ext uri="{FF2B5EF4-FFF2-40B4-BE49-F238E27FC236}">
                <a16:creationId xmlns:a16="http://schemas.microsoft.com/office/drawing/2014/main" id="{764EEE61-B32D-507D-37E1-48EB3D8A7005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8896350" y="4760913"/>
            <a:ext cx="720725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FD2ABA-C60F-474E-9E17-7A3E2BE589DD}" type="datetime'Ачимо''''''в''''ск''ие'''' ''&#10;''''''за''л''е''ж''и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Ачимовские 
залежи</a:t>
            </a:fld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Текст 2">
            <a:extLst>
              <a:ext uri="{FF2B5EF4-FFF2-40B4-BE49-F238E27FC236}">
                <a16:creationId xmlns:a16="http://schemas.microsoft.com/office/drawing/2014/main" id="{F06298C5-682F-1189-7295-694DA5E6346F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9912350" y="4760913"/>
            <a:ext cx="350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8DC8F2-E8E9-49FD-B420-C1CEE149F858}" type="datetime'''''''''Б''''''''''Д''''А''''''''Х''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БДАХ</a:t>
            </a:fld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Текст 2">
            <a:extLst>
              <a:ext uri="{FF2B5EF4-FFF2-40B4-BE49-F238E27FC236}">
                <a16:creationId xmlns:a16="http://schemas.microsoft.com/office/drawing/2014/main" id="{CA98B62F-5F10-0DE1-26FD-4918C676D72A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10810875" y="4541838"/>
            <a:ext cx="212725" cy="165100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E79858-04E0-4F60-83C8-719D6395EA7D}" type="datetime'''''''''''''6''''''2'''''''''''''''''''''''''''''''''''''">
              <a:rPr lang="ru-RU" altLang="en-US" sz="1200" smtClean="0">
                <a:effectLst/>
                <a:latin typeface="Circe" panose="020B0604020202020204" charset="0"/>
              </a:rPr>
              <a:pPr/>
              <a:t>62</a:t>
            </a:fld>
            <a:endParaRPr lang="ru-RU" sz="1200" dirty="0">
              <a:latin typeface="Circe" panose="020B0604020202020204" charset="0"/>
            </a:endParaRPr>
          </a:p>
        </p:txBody>
      </p:sp>
      <p:sp>
        <p:nvSpPr>
          <p:cNvPr id="87" name="Текст 2">
            <a:extLst>
              <a:ext uri="{FF2B5EF4-FFF2-40B4-BE49-F238E27FC236}">
                <a16:creationId xmlns:a16="http://schemas.microsoft.com/office/drawing/2014/main" id="{E4C2DAE1-CC5C-53D5-504F-0A6B14A440B2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11420475" y="4760913"/>
            <a:ext cx="650875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43090C-DBC8-4200-9F86-CF4F0D99368F}" type="datetime'''Д''''о''''''ю''р''с''''''''ки''''е'' о''тл''ожени''''я''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Доюрские отложения</a:t>
            </a:fld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Текст 2">
            <a:extLst>
              <a:ext uri="{FF2B5EF4-FFF2-40B4-BE49-F238E27FC236}">
                <a16:creationId xmlns:a16="http://schemas.microsoft.com/office/drawing/2014/main" id="{D00E752B-443A-2000-F1A2-C190172E9FC3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386638" y="3057525"/>
            <a:ext cx="4238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EF36D6-415E-482F-94DD-BCF061D01795}" type="datetime'''''''4'''''''''''''''''''''''''''' ''''''''1''''''''''37'''''">
              <a:rPr lang="ru-RU" altLang="en-US" sz="1200" smtClean="0">
                <a:effectLst/>
                <a:latin typeface="Circe" panose="020B060402020202020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 137</a:t>
            </a:fld>
            <a:endParaRPr lang="ru-RU" sz="1200" dirty="0">
              <a:latin typeface="Circe" panose="020B0604020202020204" charset="0"/>
            </a:endParaRPr>
          </a:p>
        </p:txBody>
      </p:sp>
      <p:sp>
        <p:nvSpPr>
          <p:cNvPr id="89" name="Текст 2">
            <a:extLst>
              <a:ext uri="{FF2B5EF4-FFF2-40B4-BE49-F238E27FC236}">
                <a16:creationId xmlns:a16="http://schemas.microsoft.com/office/drawing/2014/main" id="{62DED2C6-7DFF-24E9-9A5C-0294E51EC99E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8215313" y="3403600"/>
            <a:ext cx="4238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7D868AD-7CEB-4F4D-B95E-1C5DC7D26AE5}" type="datetime'''''''''3'''''''' ''''''1''''''''''''0''''''''''''6'''''''">
              <a:rPr lang="ru-RU" altLang="en-US" sz="1200" smtClean="0">
                <a:effectLst/>
                <a:latin typeface="Circe" panose="020B060402020202020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 106</a:t>
            </a:fld>
            <a:endParaRPr lang="ru-RU" sz="1200" dirty="0">
              <a:latin typeface="Circe" panose="020B0604020202020204" charset="0"/>
            </a:endParaRPr>
          </a:p>
        </p:txBody>
      </p:sp>
      <p:sp>
        <p:nvSpPr>
          <p:cNvPr id="90" name="Текст 2">
            <a:extLst>
              <a:ext uri="{FF2B5EF4-FFF2-40B4-BE49-F238E27FC236}">
                <a16:creationId xmlns:a16="http://schemas.microsoft.com/office/drawing/2014/main" id="{8B8CA58F-DBA7-F85F-0FA4-C420CBB66710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9045575" y="3857625"/>
            <a:ext cx="4238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C72827-764A-4317-954F-E76F28CBB61F}" type="datetime'''''''1'' ''''''''''7''''''''5''''''''1'''''''''''''''''''">
              <a:rPr lang="ru-RU" altLang="en-US" sz="1200" smtClean="0">
                <a:effectLst/>
                <a:latin typeface="Circe" panose="020B060402020202020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 751</a:t>
            </a:fld>
            <a:endParaRPr lang="ru-RU" sz="1200" dirty="0">
              <a:latin typeface="Circe" panose="020B0604020202020204" charset="0"/>
            </a:endParaRPr>
          </a:p>
        </p:txBody>
      </p:sp>
      <p:sp>
        <p:nvSpPr>
          <p:cNvPr id="91" name="Текст 2">
            <a:extLst>
              <a:ext uri="{FF2B5EF4-FFF2-40B4-BE49-F238E27FC236}">
                <a16:creationId xmlns:a16="http://schemas.microsoft.com/office/drawing/2014/main" id="{EDDAA651-FCED-2356-B000-97B817DD8B2C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10706100" y="3992563"/>
            <a:ext cx="4238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517349-5CA2-451F-93B9-091F9CA19099}" type="datetime'''''''''''''''''''''''''''''1 ''''3''5''''''''''0'''''''''''''">
              <a:rPr lang="ru-RU" altLang="en-US" sz="1200" smtClean="0">
                <a:effectLst/>
                <a:latin typeface="Circe" panose="020B060402020202020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 350</a:t>
            </a:fld>
            <a:endParaRPr lang="ru-RU" sz="1200" dirty="0">
              <a:latin typeface="Circe" panose="020B0604020202020204" charset="0"/>
            </a:endParaRPr>
          </a:p>
        </p:txBody>
      </p:sp>
      <p:sp>
        <p:nvSpPr>
          <p:cNvPr id="92" name="Текст 2">
            <a:extLst>
              <a:ext uri="{FF2B5EF4-FFF2-40B4-BE49-F238E27FC236}">
                <a16:creationId xmlns:a16="http://schemas.microsoft.com/office/drawing/2014/main" id="{ADB7D895-E282-33F1-AF0A-2A68CF2AB0EE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11598275" y="4160838"/>
            <a:ext cx="2968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CA1925-20C6-40DF-929F-EEA35592E286}" type="datetime'''8''5''''''''''''''''''''''''''''''''''''''''''''''''''0'''''">
              <a:rPr lang="ru-RU" altLang="en-US" sz="1200" smtClean="0">
                <a:effectLst/>
                <a:latin typeface="Circe" panose="020B060402020202020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50</a:t>
            </a:fld>
            <a:endParaRPr lang="ru-RU" sz="1200" dirty="0">
              <a:latin typeface="Circe" panose="020B0604020202020204" charset="0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55B453A-1C3C-BF39-6127-27150A597B03}"/>
              </a:ext>
            </a:extLst>
          </p:cNvPr>
          <p:cNvSpPr txBox="1"/>
          <p:nvPr/>
        </p:nvSpPr>
        <p:spPr>
          <a:xfrm>
            <a:off x="6274313" y="5035242"/>
            <a:ext cx="591768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Извлекаемые запасы по состоянию на 01.01.2019 г. и доля ТРИЗ и шельфа, вовлечённых в разработку</a:t>
            </a:r>
          </a:p>
        </p:txBody>
      </p:sp>
      <p:cxnSp>
        <p:nvCxnSpPr>
          <p:cNvPr id="94" name="Прямая соединительная линия 93">
            <a:extLst>
              <a:ext uri="{FF2B5EF4-FFF2-40B4-BE49-F238E27FC236}">
                <a16:creationId xmlns:a16="http://schemas.microsoft.com/office/drawing/2014/main" id="{A81840D8-2F19-7E72-CE90-4942A41DF3DE}"/>
              </a:ext>
            </a:extLst>
          </p:cNvPr>
          <p:cNvCxnSpPr>
            <a:cxnSpLocks/>
          </p:cNvCxnSpPr>
          <p:nvPr/>
        </p:nvCxnSpPr>
        <p:spPr>
          <a:xfrm flipV="1">
            <a:off x="157494" y="5698169"/>
            <a:ext cx="11847181" cy="35087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Заголовок 1">
            <a:extLst>
              <a:ext uri="{FF2B5EF4-FFF2-40B4-BE49-F238E27FC236}">
                <a16:creationId xmlns:a16="http://schemas.microsoft.com/office/drawing/2014/main" id="{A8746DF9-137B-9049-26D8-2478B06EE91C}"/>
              </a:ext>
            </a:extLst>
          </p:cNvPr>
          <p:cNvSpPr txBox="1">
            <a:spLocks/>
          </p:cNvSpPr>
          <p:nvPr/>
        </p:nvSpPr>
        <p:spPr>
          <a:xfrm>
            <a:off x="172410" y="5736468"/>
            <a:ext cx="11847180" cy="473210"/>
          </a:xfrm>
          <a:prstGeom prst="rect">
            <a:avLst/>
          </a:prstGeom>
          <a:solidFill>
            <a:srgbClr val="E7F0F9"/>
          </a:solidFill>
          <a:ln>
            <a:solidFill>
              <a:schemeClr val="tx1"/>
            </a:solidFill>
          </a:ln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rgbClr val="004E6B"/>
                </a:solidFill>
                <a:latin typeface="Circe Bold" panose="020B0602020203020203" pitchFamily="34" charset="-52"/>
                <a:ea typeface="+mj-ea"/>
                <a:cs typeface="+mj-cs"/>
              </a:defRPr>
            </a:lvl1pPr>
          </a:lstStyle>
          <a:p>
            <a:r>
              <a:rPr lang="ru-RU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В текущей добыче </a:t>
            </a:r>
            <a:r>
              <a:rPr lang="ru-RU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доля</a:t>
            </a:r>
            <a:r>
              <a:rPr lang="ru-RU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низкопроницаемых</a:t>
            </a:r>
            <a:r>
              <a:rPr lang="ru-RU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пластов является одной из самых высоких среди всех ТРИЗ</a:t>
            </a:r>
            <a:r>
              <a:rPr lang="ru-RU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 Так, в 2019 году добыча нефти по ним составила почти 40 млн т</a:t>
            </a:r>
            <a:endParaRPr lang="ru-RU" sz="2000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id="{F30ED51A-3AF3-09A1-3803-30E253754336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10226675" y="2963863"/>
            <a:ext cx="214313" cy="160338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7" name="Прямоугольник 96">
            <a:extLst>
              <a:ext uri="{FF2B5EF4-FFF2-40B4-BE49-F238E27FC236}">
                <a16:creationId xmlns:a16="http://schemas.microsoft.com/office/drawing/2014/main" id="{171F90E4-4E50-7A79-3792-FDE592A4C94E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10226675" y="3179763"/>
            <a:ext cx="214313" cy="160338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8" name="Текст 2">
            <a:extLst>
              <a:ext uri="{FF2B5EF4-FFF2-40B4-BE49-F238E27FC236}">
                <a16:creationId xmlns:a16="http://schemas.microsoft.com/office/drawing/2014/main" id="{403F4FC4-0812-2B41-28E1-6B3D313B3F60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10491788" y="2959100"/>
            <a:ext cx="14890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9EE11F4-4A49-4183-8F21-35A04B552AE4}" type="datetime'''''Не''р''''''''а''''''з''р''''''''аба''ты''''''в''аем''ые'''">
              <a:rPr lang="ru-RU" altLang="en-US" sz="1200" smtClean="0">
                <a:effectLst/>
                <a:latin typeface="Circe" panose="020B060402020202020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Неразрабатываемые</a:t>
            </a:fld>
            <a:endParaRPr lang="ru-RU" sz="1200" dirty="0">
              <a:latin typeface="Circe" panose="020B0604020202020204" charset="0"/>
            </a:endParaRPr>
          </a:p>
        </p:txBody>
      </p:sp>
      <p:sp>
        <p:nvSpPr>
          <p:cNvPr id="99" name="Текст 2">
            <a:extLst>
              <a:ext uri="{FF2B5EF4-FFF2-40B4-BE49-F238E27FC236}">
                <a16:creationId xmlns:a16="http://schemas.microsoft.com/office/drawing/2014/main" id="{BA0616EF-9277-07A9-2652-90193B4AE5F5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10491788" y="3175000"/>
            <a:ext cx="13065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" panose="020F0502020204030204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BF2D207-1A17-48AE-8183-320A5E9B1FE6}" type="datetime'''Раз''р''''а''''б''''''''а''т''ыв''''''а''ем''ы''е'">
              <a:rPr lang="ru-RU" altLang="en-US" sz="1200" smtClean="0">
                <a:effectLst/>
                <a:latin typeface="Circe" panose="020B060402020202020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Разрабатываемые</a:t>
            </a:fld>
            <a:endParaRPr lang="ru-RU" sz="1200" dirty="0">
              <a:latin typeface="Circe" panose="020B060402020202020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6FD5046B-3F5E-2E8D-5249-E97943B0F962}"/>
              </a:ext>
            </a:extLst>
          </p:cNvPr>
          <p:cNvSpPr txBox="1"/>
          <p:nvPr/>
        </p:nvSpPr>
        <p:spPr>
          <a:xfrm>
            <a:off x="6445283" y="2925524"/>
            <a:ext cx="67783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млн т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Номер слайда 3">
            <a:extLst>
              <a:ext uri="{FF2B5EF4-FFF2-40B4-BE49-F238E27FC236}">
                <a16:creationId xmlns:a16="http://schemas.microsoft.com/office/drawing/2014/main" id="{2745C8CD-D6C6-982A-1649-44E041B22FE0}"/>
              </a:ext>
            </a:extLst>
          </p:cNvPr>
          <p:cNvSpPr txBox="1">
            <a:spLocks noGrp="1"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919CA305-5170-48E0-9A9F-8DEB1FA390CF}" type="slidenum">
              <a:rPr lang="ru-RU" altLang="ru-RU" sz="1200">
                <a:solidFill>
                  <a:srgbClr val="898989"/>
                </a:solidFill>
                <a:latin typeface="Circe" panose="020B0502020203020203" pitchFamily="34" charset="-52"/>
              </a:rPr>
              <a:pPr algn="r" eaLnBrk="1" hangingPunct="1"/>
              <a:t>30</a:t>
            </a:fld>
            <a:endParaRPr lang="ru-RU" altLang="ru-RU" sz="1200">
              <a:solidFill>
                <a:srgbClr val="898989"/>
              </a:solidFill>
              <a:latin typeface="Circe" panose="020B0502020203020203" pitchFamily="34" charset="-52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D9C7FA5-F5D1-E778-1797-5CE12D2086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255815B-AD1E-49D8-8E6F-989E26A7EBA1}" type="slidenum">
              <a:rPr lang="ru-RU" smtClean="0"/>
              <a:pPr>
                <a:defRPr/>
              </a:pPr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2844609"/>
      </p:ext>
    </p:extLst>
  </p:cSld>
  <p:clrMapOvr>
    <a:masterClrMapping/>
  </p:clrMapOvr>
  <p:transition spd="slow">
    <p:push dir="u"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Слайд think-cell" r:id="rId5" imgW="378" imgH="379" progId="TCLayout.ActiveDocument.1">
                  <p:embed/>
                </p:oleObj>
              </mc:Choice>
              <mc:Fallback>
                <p:oleObj name="Слайд think-cell" r:id="rId5" imgW="378" imgH="379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000" b="1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BF4FE1-3797-42D5-BFE1-D9FFDE57E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64352" y="6310311"/>
            <a:ext cx="2743200" cy="365125"/>
          </a:xfrm>
        </p:spPr>
        <p:txBody>
          <a:bodyPr vert="horz" lIns="91440" tIns="45720" rIns="91440" bIns="45720" rtlCol="0" anchor="ctr"/>
          <a:lstStyle/>
          <a:p>
            <a:fld id="{E9A94408-136D-4076-8B3A-9B07B14B9190}" type="slidenum">
              <a:rPr lang="ru-RU" altLang="ru-RU" sz="1600" b="1"/>
              <a:pPr/>
              <a:t>31</a:t>
            </a:fld>
            <a:endParaRPr lang="ru-RU" altLang="ru-RU" sz="1600" b="1" dirty="0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62318520-A677-4235-8BCF-6DF6A839885F}"/>
              </a:ext>
            </a:extLst>
          </p:cNvPr>
          <p:cNvGraphicFramePr>
            <a:graphicFrameLocks noGrp="1"/>
          </p:cNvGraphicFramePr>
          <p:nvPr/>
        </p:nvGraphicFramePr>
        <p:xfrm>
          <a:off x="6820042" y="1700808"/>
          <a:ext cx="5247704" cy="4412899"/>
        </p:xfrm>
        <a:graphic>
          <a:graphicData uri="http://schemas.openxmlformats.org/drawingml/2006/table">
            <a:tbl>
              <a:tblPr/>
              <a:tblGrid>
                <a:gridCol w="33271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20528">
                  <a:extLst>
                    <a:ext uri="{9D8B030D-6E8A-4147-A177-3AD203B41FA5}">
                      <a16:colId xmlns:a16="http://schemas.microsoft.com/office/drawing/2014/main" val="1714680241"/>
                    </a:ext>
                  </a:extLst>
                </a:gridCol>
              </a:tblGrid>
              <a:tr h="615686">
                <a:tc>
                  <a:txBody>
                    <a:bodyPr/>
                    <a:lstStyle>
                      <a:lvl1pPr marL="10795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0795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</a:t>
                      </a:r>
                      <a:r>
                        <a:rPr kumimoji="0" lang="en-US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арактеристики</a:t>
                      </a: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эффициент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газопроницаемости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9209">
                <a:tc>
                  <a:txBody>
                    <a:bodyPr/>
                    <a:lstStyle>
                      <a:lvl1pPr marL="10795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079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иапазон</a:t>
                      </a:r>
                      <a:endParaRPr kumimoji="0" lang="ru-RU" altLang="ru-RU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1·10</a:t>
                      </a:r>
                      <a:r>
                        <a:rPr kumimoji="0" lang="ru-RU" altLang="ru-RU" sz="1500" b="1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3</a:t>
                      </a: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до 5 мкм</a:t>
                      </a:r>
                      <a:r>
                        <a:rPr kumimoji="0" lang="ru-RU" altLang="ru-RU" sz="1500" b="1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от 1·10</a:t>
                      </a:r>
                      <a:r>
                        <a:rPr kumimoji="0" lang="ru-RU" altLang="ru-RU" sz="1500" b="1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7</a:t>
                      </a: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до 5 мкм</a:t>
                      </a:r>
                      <a:r>
                        <a:rPr kumimoji="0" lang="ru-RU" altLang="ru-RU" sz="1500" b="1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2204">
                <a:tc>
                  <a:txBody>
                    <a:bodyPr/>
                    <a:lstStyle>
                      <a:lvl1pPr marL="10795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079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носительное СКО результата измерений, S</a:t>
                      </a:r>
                      <a:r>
                        <a:rPr kumimoji="0" lang="ru-RU" altLang="ru-RU" sz="1500" b="0" i="0" u="none" strike="noStrike" cap="none" normalizeH="0" baseline="-25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r>
                        <a:rPr kumimoji="0" lang="ru-RU" alt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% (n=5)</a:t>
                      </a: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0,04 до 1,2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89209">
                <a:tc>
                  <a:txBody>
                    <a:bodyPr/>
                    <a:lstStyle>
                      <a:lvl1pPr marL="10795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079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раницы относительной </a:t>
                      </a:r>
                      <a:r>
                        <a:rPr kumimoji="0" lang="ru-RU" altLang="ru-RU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исключённой</a:t>
                      </a:r>
                      <a:r>
                        <a:rPr kumimoji="0" lang="ru-RU" alt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истематической погрешности, </a:t>
                      </a:r>
                      <a:r>
                        <a:rPr kumimoji="0" lang="en-US" alt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θ</a:t>
                      </a:r>
                      <a:r>
                        <a:rPr kumimoji="0" lang="ru-RU" altLang="ru-RU" sz="1500" b="0" i="0" u="none" strike="noStrike" cap="none" normalizeH="0" baseline="-25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r>
                        <a:rPr kumimoji="0" lang="ru-RU" alt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% (</a:t>
                      </a:r>
                      <a:r>
                        <a:rPr kumimoji="0" lang="en-US" alt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=0,95</a:t>
                      </a:r>
                      <a:r>
                        <a:rPr kumimoji="0" lang="ru-RU" alt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0,17 до 2,7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89209">
                <a:tc>
                  <a:txBody>
                    <a:bodyPr/>
                    <a:lstStyle>
                      <a:lvl1pPr marL="10795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079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носительная стандартная неопределённость типа А (для 5 независимых измерений), </a:t>
                      </a:r>
                      <a:r>
                        <a:rPr kumimoji="0" lang="en-US" alt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</a:t>
                      </a:r>
                      <a:r>
                        <a:rPr kumimoji="0" lang="ru-RU" altLang="ru-RU" sz="1500" b="0" i="0" u="none" strike="noStrike" cap="none" normalizeH="0" baseline="-25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</a:t>
                      </a:r>
                      <a:r>
                        <a:rPr kumimoji="0" lang="ru-RU" alt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%</a:t>
                      </a: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0,04 до 1,2</a:t>
                      </a:r>
                      <a:endParaRPr kumimoji="0" lang="ru-RU" altLang="ru-RU" sz="1500" b="1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03903">
                <a:tc>
                  <a:txBody>
                    <a:bodyPr/>
                    <a:lstStyle>
                      <a:lvl1pPr marL="10795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079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носительная стандартная неопределённость типа В, </a:t>
                      </a:r>
                      <a:r>
                        <a:rPr kumimoji="0" lang="en-US" alt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</a:t>
                      </a:r>
                      <a:r>
                        <a:rPr kumimoji="0" lang="ru-RU" altLang="ru-RU" sz="1500" b="0" i="0" u="none" strike="noStrike" cap="none" normalizeH="0" baseline="-25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</a:t>
                      </a:r>
                      <a:r>
                        <a:rPr kumimoji="0" lang="ru-RU" alt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%</a:t>
                      </a: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0,09 до 1,4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68483">
                <a:tc>
                  <a:txBody>
                    <a:bodyPr/>
                    <a:lstStyle/>
                    <a:p>
                      <a:pPr marL="1079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носительная расширенная неопределенность (</a:t>
                      </a:r>
                      <a:r>
                        <a:rPr kumimoji="0" lang="en-US" alt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=2)</a:t>
                      </a:r>
                      <a:r>
                        <a:rPr kumimoji="0" lang="ru-RU" alt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kumimoji="0" lang="en-US" alt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%</a:t>
                      </a:r>
                      <a:endParaRPr kumimoji="0" lang="ru-RU" altLang="ru-RU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0,2 до 5,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500" b="1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8800750"/>
                  </a:ext>
                </a:extLst>
              </a:tr>
            </a:tbl>
          </a:graphicData>
        </a:graphic>
      </p:graphicFrame>
      <p:sp>
        <p:nvSpPr>
          <p:cNvPr id="54" name="Заголовок 6">
            <a:extLst>
              <a:ext uri="{FF2B5EF4-FFF2-40B4-BE49-F238E27FC236}">
                <a16:creationId xmlns:a16="http://schemas.microsoft.com/office/drawing/2014/main" id="{3B60F52B-67F2-499D-843A-B758B9F73A73}"/>
              </a:ext>
            </a:extLst>
          </p:cNvPr>
          <p:cNvSpPr txBox="1">
            <a:spLocks/>
          </p:cNvSpPr>
          <p:nvPr/>
        </p:nvSpPr>
        <p:spPr>
          <a:xfrm>
            <a:off x="6767157" y="5909731"/>
            <a:ext cx="5187510" cy="5262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rgbClr val="004E6B"/>
                </a:solidFill>
                <a:latin typeface="Circe Bold" panose="020B0602020203020203" pitchFamily="34" charset="-52"/>
                <a:ea typeface="+mj-ea"/>
                <a:cs typeface="+mj-cs"/>
              </a:defRPr>
            </a:lvl1pPr>
          </a:lstStyle>
          <a:p>
            <a:pPr algn="l"/>
            <a:r>
              <a:rPr lang="ru-RU" sz="1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метрологические характеристики после совершенствования ГЭТ 210-2019 выделены красным цветом</a:t>
            </a:r>
            <a:endParaRPr lang="ru-RU" sz="16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F70DB663-D6A0-BADC-A388-C300D3D47316}"/>
              </a:ext>
            </a:extLst>
          </p:cNvPr>
          <p:cNvSpPr txBox="1">
            <a:spLocks/>
          </p:cNvSpPr>
          <p:nvPr/>
        </p:nvSpPr>
        <p:spPr>
          <a:xfrm>
            <a:off x="758492" y="30431"/>
            <a:ext cx="11109749" cy="57846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rgbClr val="004E6B"/>
                </a:solidFill>
                <a:latin typeface="Circe Bold" panose="020B0602020203020203" pitchFamily="34" charset="-52"/>
                <a:ea typeface="+mj-ea"/>
                <a:cs typeface="+mj-cs"/>
              </a:defRPr>
            </a:lvl1pPr>
          </a:lstStyle>
          <a:p>
            <a:pPr algn="l"/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В настоящий момент проводятся работы по совершенствованию ГЭТ 210 (расширение диапазона воспроизведений коэффициента газопроницаемости в сторону низких значений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0AB62DD-8A64-C39C-4C79-3F5AAF0E1F1C}"/>
              </a:ext>
            </a:extLst>
          </p:cNvPr>
          <p:cNvSpPr txBox="1"/>
          <p:nvPr/>
        </p:nvSpPr>
        <p:spPr>
          <a:xfrm>
            <a:off x="1991543" y="3437720"/>
            <a:ext cx="4527589" cy="107721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риобретена установка с диапазоном измерения коэффициента газопроницаемости</a:t>
            </a:r>
          </a:p>
          <a:p>
            <a:pPr algn="ctr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от 1·10</a:t>
            </a:r>
            <a:r>
              <a:rPr lang="ru-RU" sz="1600" baseline="30000" dirty="0">
                <a:latin typeface="Arial" panose="020B0604020202020204" pitchFamily="34" charset="0"/>
                <a:cs typeface="Arial" panose="020B0604020202020204" pitchFamily="34" charset="0"/>
              </a:rPr>
              <a:t>-7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до 0,5·10</a:t>
            </a:r>
            <a:r>
              <a:rPr lang="ru-RU" sz="1600" baseline="30000" dirty="0">
                <a:latin typeface="Arial" panose="020B0604020202020204" pitchFamily="34" charset="0"/>
                <a:cs typeface="Arial" panose="020B0604020202020204" pitchFamily="34" charset="0"/>
              </a:rPr>
              <a:t>-3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мкм</a:t>
            </a:r>
            <a:r>
              <a:rPr lang="ru-RU" sz="1600" baseline="30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9" name="Объект 8">
            <a:extLst>
              <a:ext uri="{FF2B5EF4-FFF2-40B4-BE49-F238E27FC236}">
                <a16:creationId xmlns:a16="http://schemas.microsoft.com/office/drawing/2014/main" id="{522AAC8D-09C7-D120-0447-3D3769F4D7E9}"/>
              </a:ext>
            </a:extLst>
          </p:cNvPr>
          <p:cNvSpPr txBox="1">
            <a:spLocks/>
          </p:cNvSpPr>
          <p:nvPr/>
        </p:nvSpPr>
        <p:spPr>
          <a:xfrm>
            <a:off x="2011166" y="1394490"/>
            <a:ext cx="4507966" cy="107721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 Light" panose="020B0402020203020203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 Light" panose="020B0402020203020203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 Light" panose="020B0402020203020203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 Light" panose="020B0402020203020203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Диапазон от 0,5·10</a:t>
            </a:r>
            <a:r>
              <a:rPr lang="ru-RU" baseline="30000" dirty="0"/>
              <a:t>-3 </a:t>
            </a:r>
            <a:r>
              <a:rPr lang="ru-RU" dirty="0"/>
              <a:t>мкм</a:t>
            </a:r>
            <a:r>
              <a:rPr lang="ru-RU" baseline="30000" dirty="0"/>
              <a:t>2 </a:t>
            </a:r>
            <a:r>
              <a:rPr lang="ru-RU" dirty="0"/>
              <a:t>до 1·10</a:t>
            </a:r>
            <a:r>
              <a:rPr lang="ru-RU" baseline="30000" dirty="0"/>
              <a:t>-3 </a:t>
            </a:r>
            <a:r>
              <a:rPr lang="ru-RU" dirty="0"/>
              <a:t>мкм</a:t>
            </a:r>
            <a:r>
              <a:rPr lang="ru-RU" baseline="30000" dirty="0"/>
              <a:t>2 </a:t>
            </a:r>
            <a:r>
              <a:rPr lang="ru-RU" dirty="0"/>
              <a:t>планируется обеспечить модернизацией имеющейся ЭУ (приобретен датчик низкого расхода газа)</a:t>
            </a:r>
          </a:p>
        </p:txBody>
      </p:sp>
      <p:sp>
        <p:nvSpPr>
          <p:cNvPr id="2" name="Объект 10">
            <a:extLst>
              <a:ext uri="{FF2B5EF4-FFF2-40B4-BE49-F238E27FC236}">
                <a16:creationId xmlns:a16="http://schemas.microsoft.com/office/drawing/2014/main" id="{EF0FFBE6-A464-F24D-33BA-436AF6623848}"/>
              </a:ext>
            </a:extLst>
          </p:cNvPr>
          <p:cNvSpPr txBox="1">
            <a:spLocks/>
          </p:cNvSpPr>
          <p:nvPr/>
        </p:nvSpPr>
        <p:spPr>
          <a:xfrm>
            <a:off x="551384" y="5169434"/>
            <a:ext cx="5976664" cy="13234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 Light" panose="020B0402020203020203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 Light" panose="020B0402020203020203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 Light" panose="020B0402020203020203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 Light" panose="020B0402020203020203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 Для передачи единицы коэффициента газопроницаемости в расширяемом диапазоне будут применяться СО, представляющие собой образцы реальных горных пород с низкими значениями проницаемости, также планируется разработка керамических имитаторов</a:t>
            </a:r>
          </a:p>
        </p:txBody>
      </p:sp>
      <p:sp>
        <p:nvSpPr>
          <p:cNvPr id="10" name="Объект 8">
            <a:extLst>
              <a:ext uri="{FF2B5EF4-FFF2-40B4-BE49-F238E27FC236}">
                <a16:creationId xmlns:a16="http://schemas.microsoft.com/office/drawing/2014/main" id="{97B26EE2-04C5-F640-CB9E-DC2F280E1641}"/>
              </a:ext>
            </a:extLst>
          </p:cNvPr>
          <p:cNvSpPr txBox="1">
            <a:spLocks/>
          </p:cNvSpPr>
          <p:nvPr/>
        </p:nvSpPr>
        <p:spPr>
          <a:xfrm>
            <a:off x="6785464" y="908720"/>
            <a:ext cx="5247703" cy="83099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irce Light" panose="020B0402020203020203" pitchFamily="34" charset="-52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irce Light" panose="020B0402020203020203" pitchFamily="34" charset="-52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 Light" panose="020B0402020203020203" pitchFamily="34" charset="-52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irce Light" panose="020B0402020203020203" pitchFamily="34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/>
              <a:t>МЕТРОЛОГИЧЕСКИЕ ХАРАКТЕРИСТИКИ ВОСПРОИЗВЕДЕНИЯ ГАЗОПРОНИЦАЕМОСТИ ПОСЛЕ СОВЕРШЕНСТВОВАНИЯ ГЭТ 210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5DE3BB3-41A3-DB04-5776-B3406F5EC8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4597" y="3077952"/>
            <a:ext cx="1827993" cy="1839324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E78998FD-6589-E93E-548E-037EFCBD15E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8500" y="1085270"/>
            <a:ext cx="1774090" cy="1695658"/>
          </a:xfrm>
          <a:prstGeom prst="rect">
            <a:avLst/>
          </a:prstGeom>
        </p:spPr>
      </p:pic>
      <p:sp>
        <p:nvSpPr>
          <p:cNvPr id="11" name="Правая фигурная скобка 10">
            <a:extLst>
              <a:ext uri="{FF2B5EF4-FFF2-40B4-BE49-F238E27FC236}">
                <a16:creationId xmlns:a16="http://schemas.microsoft.com/office/drawing/2014/main" id="{A6B0CAA8-023E-F770-671A-A00E39F6AB48}"/>
              </a:ext>
            </a:extLst>
          </p:cNvPr>
          <p:cNvSpPr/>
          <p:nvPr/>
        </p:nvSpPr>
        <p:spPr>
          <a:xfrm>
            <a:off x="6456040" y="1196752"/>
            <a:ext cx="360040" cy="5478684"/>
          </a:xfrm>
          <a:prstGeom prst="rightBrace">
            <a:avLst>
              <a:gd name="adj1" fmla="val 55216"/>
              <a:gd name="adj2" fmla="val 5021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3A852209-1437-5D97-1EB8-716A3F724FEC}"/>
              </a:ext>
            </a:extLst>
          </p:cNvPr>
          <p:cNvSpPr/>
          <p:nvPr/>
        </p:nvSpPr>
        <p:spPr>
          <a:xfrm>
            <a:off x="182429" y="938830"/>
            <a:ext cx="576064" cy="576064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147E37F0-DFE5-25BE-7C2E-473B12B0981D}"/>
              </a:ext>
            </a:extLst>
          </p:cNvPr>
          <p:cNvSpPr/>
          <p:nvPr/>
        </p:nvSpPr>
        <p:spPr>
          <a:xfrm>
            <a:off x="182429" y="2969266"/>
            <a:ext cx="576064" cy="576064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667F2E24-DAA3-6456-A829-4D56D92D9EB1}"/>
              </a:ext>
            </a:extLst>
          </p:cNvPr>
          <p:cNvSpPr/>
          <p:nvPr/>
        </p:nvSpPr>
        <p:spPr>
          <a:xfrm>
            <a:off x="119336" y="5013176"/>
            <a:ext cx="576064" cy="576064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4273941911"/>
      </p:ext>
    </p:extLst>
  </p:cSld>
  <p:clrMapOvr>
    <a:masterClrMapping/>
  </p:clrMapOvr>
  <p:transition spd="slow">
    <p:push dir="u"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Слайд think-cell" r:id="rId5" imgW="378" imgH="379" progId="TCLayout.ActiveDocument.1">
                  <p:embed/>
                </p:oleObj>
              </mc:Choice>
              <mc:Fallback>
                <p:oleObj name="Слайд think-cell" r:id="rId5" imgW="378" imgH="379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000" b="1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BF4FE1-3797-42D5-BFE1-D9FFDE57E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64352" y="6310311"/>
            <a:ext cx="2743200" cy="365125"/>
          </a:xfrm>
        </p:spPr>
        <p:txBody>
          <a:bodyPr/>
          <a:lstStyle/>
          <a:p>
            <a:pPr>
              <a:defRPr/>
            </a:pPr>
            <a:fld id="{E9A94408-136D-4076-8B3A-9B07B14B9190}" type="slidenum">
              <a:rPr lang="ru-RU" altLang="ru-RU" sz="1600" b="1" smtClean="0"/>
              <a:pPr>
                <a:defRPr/>
              </a:pPr>
              <a:t>32</a:t>
            </a:fld>
            <a:endParaRPr lang="ru-RU" altLang="ru-RU" sz="16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C29F9D0-CF39-471D-ACB7-D78AB7531431}"/>
              </a:ext>
            </a:extLst>
          </p:cNvPr>
          <p:cNvSpPr txBox="1"/>
          <p:nvPr/>
        </p:nvSpPr>
        <p:spPr>
          <a:xfrm>
            <a:off x="875420" y="-48269"/>
            <a:ext cx="1000911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004E6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боснование целесообразности</a:t>
            </a:r>
            <a:r>
              <a:rPr lang="en-US" sz="2400" b="1" dirty="0">
                <a:solidFill>
                  <a:srgbClr val="004E6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ru-RU" sz="2400" b="1" dirty="0">
                <a:solidFill>
                  <a:srgbClr val="004E6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модернизации ГЭТ 173-2017</a:t>
            </a:r>
            <a:endParaRPr lang="ru-RU" sz="2000" b="1" dirty="0">
              <a:solidFill>
                <a:srgbClr val="004E6B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9376" y="850247"/>
            <a:ext cx="4896544" cy="5790181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79976" y="2405149"/>
            <a:ext cx="5468697" cy="4270287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63952" y="471469"/>
            <a:ext cx="4337613" cy="204519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9867280" y="243812"/>
            <a:ext cx="214027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коло </a:t>
            </a:r>
            <a:r>
              <a:rPr lang="ru-RU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~</a:t>
            </a:r>
            <a:r>
              <a:rPr lang="ru-RU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</a:t>
            </a:r>
            <a:r>
              <a:rPr lang="en-US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</a:t>
            </a:r>
            <a:r>
              <a:rPr lang="ru-RU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% препаратов требуют корректировки по определению содержанию воды методом ГХ ТПД</a:t>
            </a:r>
          </a:p>
        </p:txBody>
      </p:sp>
    </p:spTree>
    <p:extLst>
      <p:ext uri="{BB962C8B-B14F-4D97-AF65-F5344CB8AC3E}">
        <p14:creationId xmlns:p14="http://schemas.microsoft.com/office/powerpoint/2010/main" val="911968432"/>
      </p:ext>
    </p:extLst>
  </p:cSld>
  <p:clrMapOvr>
    <a:masterClrMapping/>
  </p:clrMapOvr>
  <p:transition spd="slow">
    <p:push dir="u"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Слайд think-cell" r:id="rId6" imgW="378" imgH="379" progId="TCLayout.ActiveDocument.1">
                  <p:embed/>
                </p:oleObj>
              </mc:Choice>
              <mc:Fallback>
                <p:oleObj name="Слайд think-cell" r:id="rId6" imgW="378" imgH="379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000" b="1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BF4FE1-3797-42D5-BFE1-D9FFDE57E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64352" y="6310311"/>
            <a:ext cx="2743200" cy="365125"/>
          </a:xfrm>
        </p:spPr>
        <p:txBody>
          <a:bodyPr vert="horz" lIns="91440" tIns="45720" rIns="91440" bIns="45720" rtlCol="0" anchor="ctr"/>
          <a:lstStyle/>
          <a:p>
            <a:fld id="{E9A94408-136D-4076-8B3A-9B07B14B9190}" type="slidenum">
              <a:rPr lang="ru-RU" altLang="ru-RU" sz="1600" b="1"/>
              <a:pPr/>
              <a:t>33</a:t>
            </a:fld>
            <a:endParaRPr lang="ru-RU" altLang="ru-RU" sz="1600" b="1" dirty="0"/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50BE2E9A-8A8F-454E-A684-E6B1D291FF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5480" y="216837"/>
            <a:ext cx="11816208" cy="526258"/>
          </a:xfrm>
        </p:spPr>
        <p:txBody>
          <a:bodyPr vert="horz">
            <a:noAutofit/>
          </a:bodyPr>
          <a:lstStyle/>
          <a:p>
            <a:r>
              <a:rPr lang="ru-RU" sz="2400" kern="1200" dirty="0">
                <a:solidFill>
                  <a:srgbClr val="004E6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жидаемые результаты совершенствования ГЭТ 173-2017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7448" y="908720"/>
            <a:ext cx="9343385" cy="2716689"/>
          </a:xfrm>
          <a:prstGeom prst="rect">
            <a:avLst/>
          </a:prstGeom>
        </p:spPr>
      </p:pic>
      <p:cxnSp>
        <p:nvCxnSpPr>
          <p:cNvPr id="11" name="Прямая соединительная линия 10"/>
          <p:cNvCxnSpPr/>
          <p:nvPr/>
        </p:nvCxnSpPr>
        <p:spPr>
          <a:xfrm>
            <a:off x="1127448" y="3284984"/>
            <a:ext cx="871296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35F1795-4044-4446-A25F-35FA83419DC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8692" y="3364144"/>
            <a:ext cx="4367228" cy="3029839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40D401B-05DB-4888-B5D4-D51090A8E70D}"/>
              </a:ext>
            </a:extLst>
          </p:cNvPr>
          <p:cNvSpPr txBox="1"/>
          <p:nvPr/>
        </p:nvSpPr>
        <p:spPr>
          <a:xfrm>
            <a:off x="5574632" y="4321528"/>
            <a:ext cx="5705944" cy="923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sz="1800" dirty="0" err="1">
                <a:solidFill>
                  <a:srgbClr val="0070C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Включение</a:t>
            </a:r>
            <a:r>
              <a:rPr lang="en-US" sz="1800" dirty="0">
                <a:solidFill>
                  <a:srgbClr val="0070C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1800" dirty="0">
                <a:solidFill>
                  <a:srgbClr val="0070C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эталонной установки, реализующей метод газожидкостной хроматографии с детектором по теплопроводности (</a:t>
            </a:r>
            <a:r>
              <a:rPr lang="ru-RU" sz="1800" dirty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ГХ ТПД</a:t>
            </a:r>
            <a:r>
              <a:rPr lang="ru-RU" sz="1800" dirty="0">
                <a:solidFill>
                  <a:srgbClr val="0070C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). </a:t>
            </a:r>
            <a:endParaRPr lang="ru-RU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1820733"/>
      </p:ext>
    </p:extLst>
  </p:cSld>
  <p:clrMapOvr>
    <a:masterClrMapping/>
  </p:clrMapOvr>
  <p:transition spd="slow">
    <p:push dir="u"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>
                <a:latin typeface="+mj-lt"/>
                <a:ea typeface="Times New Roman"/>
              </a:rPr>
              <a:t>Разработка ГПРМИ</a:t>
            </a:r>
            <a:endParaRPr lang="ru-RU" dirty="0">
              <a:latin typeface="+mj-lt"/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B3362CFF-5887-BA3F-178C-1A66031E13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8608020"/>
              </p:ext>
            </p:extLst>
          </p:nvPr>
        </p:nvGraphicFramePr>
        <p:xfrm>
          <a:off x="263352" y="875524"/>
          <a:ext cx="11737304" cy="5001749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768570">
                  <a:extLst>
                    <a:ext uri="{9D8B030D-6E8A-4147-A177-3AD203B41FA5}">
                      <a16:colId xmlns:a16="http://schemas.microsoft.com/office/drawing/2014/main" val="4059927495"/>
                    </a:ext>
                  </a:extLst>
                </a:gridCol>
                <a:gridCol w="6745760">
                  <a:extLst>
                    <a:ext uri="{9D8B030D-6E8A-4147-A177-3AD203B41FA5}">
                      <a16:colId xmlns:a16="http://schemas.microsoft.com/office/drawing/2014/main" val="3908981140"/>
                    </a:ext>
                  </a:extLst>
                </a:gridCol>
                <a:gridCol w="2300600">
                  <a:extLst>
                    <a:ext uri="{9D8B030D-6E8A-4147-A177-3AD203B41FA5}">
                      <a16:colId xmlns:a16="http://schemas.microsoft.com/office/drawing/2014/main" val="3875353425"/>
                    </a:ext>
                  </a:extLst>
                </a:gridCol>
                <a:gridCol w="922374">
                  <a:extLst>
                    <a:ext uri="{9D8B030D-6E8A-4147-A177-3AD203B41FA5}">
                      <a16:colId xmlns:a16="http://schemas.microsoft.com/office/drawing/2014/main" val="3835224275"/>
                    </a:ext>
                  </a:extLst>
                </a:gridCol>
              </a:tblGrid>
              <a:tr h="605903"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</a:rPr>
                        <a:t>Номер в реестре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E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</a:rPr>
                        <a:t>Наименование документа на методику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E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</a:rPr>
                        <a:t>Номер свидетельства об аттестации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E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</a:rPr>
                        <a:t>Дата аттестации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E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742611"/>
                  </a:ext>
                </a:extLst>
              </a:tr>
              <a:tr h="666511"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ФР.ПР1.28.2019.00010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Государственная первичная референтная методика измерений деформации поверхности упругодеформированной балки прямоугольного постоянного сечения, нагружаемой по схеме чистого изгиба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222.0202/RA.RU.311866/2019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27.12.2019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10091485"/>
                  </a:ext>
                </a:extLst>
              </a:tr>
              <a:tr h="422604"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ФР.ПР1.31.2019.00009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Государственная первичная референтная методика измерений массовой доли сырого жира (масличности) в семенах масличных культур и продуктах на их основе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241.04/RA.RU.311866/2019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>
                          <a:effectLst/>
                        </a:rPr>
                        <a:t>27.12.2019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92440403"/>
                  </a:ext>
                </a:extLst>
              </a:tr>
              <a:tr h="431278"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ФР.ПР1.34.2019.00008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Государственная первичная референтная методика измерений магнитных свойств образцов магнитотвердых материалов на основе сплава неодим-железо-бор (</a:t>
                      </a:r>
                      <a:r>
                        <a:rPr lang="ru-RU" sz="1200" dirty="0" err="1">
                          <a:effectLst/>
                        </a:rPr>
                        <a:t>NdFeB</a:t>
                      </a:r>
                      <a:r>
                        <a:rPr lang="ru-RU" sz="1200" dirty="0">
                          <a:effectLst/>
                        </a:rPr>
                        <a:t>)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261.0105/RA.RU.311866/2019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>
                          <a:effectLst/>
                        </a:rPr>
                        <a:t>27.12.2019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26804839"/>
                  </a:ext>
                </a:extLst>
              </a:tr>
              <a:tr h="433040"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ФР.ПР1.34.2019.00006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Государственная первичная референтная методика измерений магнитных свойств образцов магнитотвердых материалов на основе сплава самарий-кобальт (</a:t>
                      </a:r>
                      <a:r>
                        <a:rPr lang="ru-RU" sz="1200" dirty="0" err="1">
                          <a:effectLst/>
                        </a:rPr>
                        <a:t>SmCo</a:t>
                      </a:r>
                      <a:r>
                        <a:rPr lang="ru-RU" sz="1200" dirty="0">
                          <a:effectLst/>
                        </a:rPr>
                        <a:t>)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261.0109/RA.RU.311866/2019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27.12.2019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54507097"/>
                  </a:ext>
                </a:extLst>
              </a:tr>
              <a:tr h="433040"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ФР.ПР1.31.2019.00005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Государственная первичная референтная методика измерений массовой доли углеводов в пищевых продуктах и продовольственном сырье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241.03/RA.RU.311866/2019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>
                          <a:effectLst/>
                        </a:rPr>
                        <a:t>27.12.2019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75463882"/>
                  </a:ext>
                </a:extLst>
              </a:tr>
              <a:tr h="422604"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ФР.ПР1.31.2019.00004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Государственная первичная референтная методика измерений массовой доли газообразующих элементов (N, O, H) в чистых металлах. М.УНИИМ 251.5-2019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251.01/RA.RU.311866/2019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27.12.2019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6716592"/>
                  </a:ext>
                </a:extLst>
              </a:tr>
              <a:tr h="565907"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ФР.ПР1.31.2019.00002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Государственная первичная референтная методика измерений массовой доли золы в пищевых продуктах и продовольственном сырье М.241.02/RA.RU.311866/2018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241.02/RA.RU.311866/2018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>
                          <a:effectLst/>
                        </a:rPr>
                        <a:t>21.12.2018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37713589"/>
                  </a:ext>
                </a:extLst>
              </a:tr>
              <a:tr h="454955"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ФР.ПР1.31.2019.00001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Государственная первичная референтная методика измерений массовой доли жира в пищевых продуктах и продовольственном сырье М.241.01/RA.RU.311866/2018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241.01/RA.RU.311866/2018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21.12.2018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37849965"/>
                  </a:ext>
                </a:extLst>
              </a:tr>
              <a:tr h="565907"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ФР.ПР1.31.2022.00014</a:t>
                      </a:r>
                    </a:p>
                  </a:txBody>
                  <a:tcPr marL="27938" marR="27938" marT="27938" marB="27938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</a:rPr>
                        <a:t>Государственная первичная референтная методика измерений</a:t>
                      </a:r>
                      <a:r>
                        <a:rPr lang="ru-RU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ru-RU" sz="1200" b="0" i="0" u="none" strike="noStrike" cap="none" spc="9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Circe"/>
                        </a:rPr>
                        <a:t>массовой доли и молярной концентрации </a:t>
                      </a:r>
                      <a:r>
                        <a:rPr lang="ru-RU" sz="1200" b="0" i="0" u="none" strike="noStrike" cap="none" spc="9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Circe"/>
                        </a:rPr>
                        <a:t>Cu</a:t>
                      </a:r>
                      <a:r>
                        <a:rPr lang="ru-RU" sz="1200" b="0" i="0" u="none" strike="noStrike" cap="none" spc="9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Circe"/>
                        </a:rPr>
                        <a:t> и Zn  в биологических материалах (матрицах) </a:t>
                      </a:r>
                    </a:p>
                  </a:txBody>
                  <a:tcPr marL="27938" marR="27938" marT="27938" marB="27938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1500"/>
                        </a:spcAft>
                      </a:pPr>
                      <a:r>
                        <a:rPr lang="en-US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41.01/RA.RU.311866/2022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7938" marR="27938" marT="27938" marB="27938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500"/>
                        </a:spcAft>
                      </a:pPr>
                      <a:r>
                        <a:rPr lang="ru-RU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3.08.2022</a:t>
                      </a:r>
                    </a:p>
                  </a:txBody>
                  <a:tcPr marL="27938" marR="27938" marT="27938" marB="27938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65801629"/>
                  </a:ext>
                </a:extLst>
              </a:tr>
            </a:tbl>
          </a:graphicData>
        </a:graphic>
      </p:graphicFrame>
      <p:sp>
        <p:nvSpPr>
          <p:cNvPr id="7" name="Rectangle 1">
            <a:extLst>
              <a:ext uri="{FF2B5EF4-FFF2-40B4-BE49-F238E27FC236}">
                <a16:creationId xmlns:a16="http://schemas.microsoft.com/office/drawing/2014/main" id="{FAD76D63-E51C-219F-0944-9420BA96C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35760" y="483188"/>
            <a:ext cx="7920880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502025" algn="l"/>
              </a:tabLst>
            </a:pPr>
            <a:r>
              <a:rPr kumimoji="0" lang="ru-RU" altLang="ru-RU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пециалистами УНИИМ разработано </a:t>
            </a:r>
            <a:r>
              <a:rPr kumimoji="0" lang="ru-RU" altLang="ru-RU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9 ПРМИ</a:t>
            </a:r>
            <a:r>
              <a:rPr kumimoji="0" lang="en-US" altLang="ru-RU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en-US" altLang="ru-RU" sz="16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з</a:t>
            </a:r>
            <a:r>
              <a:rPr kumimoji="0" lang="en-US" altLang="ru-RU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14 в ФИФ ОЕИ</a:t>
            </a:r>
            <a:r>
              <a:rPr kumimoji="0" lang="ru-RU" altLang="ru-RU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  <a:endParaRPr kumimoji="0" lang="ru-RU" alt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E66E5ED3-E4FF-6656-E677-E583C5D4F014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34</a:t>
            </a:fld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4F19F1-C704-2220-59EF-5F831756AD4E}"/>
              </a:ext>
            </a:extLst>
          </p:cNvPr>
          <p:cNvSpPr txBox="1"/>
          <p:nvPr/>
        </p:nvSpPr>
        <p:spPr>
          <a:xfrm>
            <a:off x="362642" y="5982476"/>
            <a:ext cx="10269861" cy="3693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altLang="ru-RU" b="1" dirty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en-US" altLang="ru-RU" b="1" dirty="0" err="1">
                <a:latin typeface="Arial" panose="020B0604020202020204" pitchFamily="34" charset="0"/>
                <a:cs typeface="Arial" panose="020B0604020202020204" pitchFamily="34" charset="0"/>
              </a:rPr>
              <a:t>период</a:t>
            </a:r>
            <a:r>
              <a:rPr lang="en-US" altLang="ru-RU" b="1" dirty="0">
                <a:latin typeface="Arial" panose="020B0604020202020204" pitchFamily="34" charset="0"/>
                <a:cs typeface="Arial" panose="020B0604020202020204" pitchFamily="34" charset="0"/>
              </a:rPr>
              <a:t> 2024-2025 </a:t>
            </a:r>
            <a:r>
              <a:rPr lang="en-US" altLang="ru-RU" b="1" dirty="0" err="1">
                <a:latin typeface="Arial" panose="020B0604020202020204" pitchFamily="34" charset="0"/>
                <a:cs typeface="Arial" panose="020B0604020202020204" pitchFamily="34" charset="0"/>
              </a:rPr>
              <a:t>гг</a:t>
            </a:r>
            <a:r>
              <a:rPr lang="en-US" altLang="ru-RU" b="1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altLang="ru-RU" b="1" dirty="0" err="1">
                <a:latin typeface="Arial" panose="020B0604020202020204" pitchFamily="34" charset="0"/>
                <a:cs typeface="Arial" panose="020B0604020202020204" pitchFamily="34" charset="0"/>
              </a:rPr>
              <a:t>запланирована</a:t>
            </a:r>
            <a:r>
              <a:rPr lang="en-US" altLang="ru-RU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b="1" dirty="0" err="1">
                <a:latin typeface="Arial" panose="020B0604020202020204" pitchFamily="34" charset="0"/>
                <a:cs typeface="Arial" panose="020B0604020202020204" pitchFamily="34" charset="0"/>
              </a:rPr>
              <a:t>разработка</a:t>
            </a:r>
            <a:r>
              <a:rPr lang="en-US" altLang="ru-RU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b="1" dirty="0">
                <a:latin typeface="Arial" panose="020B0604020202020204" pitchFamily="34" charset="0"/>
                <a:cs typeface="Arial" panose="020B0604020202020204" pitchFamily="34" charset="0"/>
              </a:rPr>
              <a:t>3 Г</a:t>
            </a:r>
            <a:r>
              <a:rPr kumimoji="0" lang="ru-RU" altLang="ru-RU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МИ</a:t>
            </a:r>
            <a:r>
              <a:rPr kumimoji="0" lang="en-US" altLang="ru-RU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en-US" altLang="ru-RU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илами</a:t>
            </a:r>
            <a:r>
              <a:rPr kumimoji="0" lang="en-US" altLang="ru-RU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УНИИМ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1921054"/>
      </p:ext>
    </p:extLst>
  </p:cSld>
  <p:clrMapOvr>
    <a:masterClrMapping/>
  </p:clrMapOvr>
  <p:transition spd="med"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0206" y="620688"/>
            <a:ext cx="10226204" cy="368814"/>
          </a:xfrm>
        </p:spPr>
        <p:txBody>
          <a:bodyPr>
            <a:noAutofit/>
          </a:bodyPr>
          <a:lstStyle/>
          <a:p>
            <a:r>
              <a:rPr lang="ru-RU" kern="1200" dirty="0">
                <a:solidFill>
                  <a:srgbClr val="004E6B"/>
                </a:solidFill>
                <a:ea typeface="+mj-ea"/>
                <a:cs typeface="+mj-cs"/>
              </a:rPr>
              <a:t>Перечень разработанных новых методик измерений механических свойств металлов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6664" y="1454019"/>
            <a:ext cx="11593288" cy="4980211"/>
          </a:xfrm>
        </p:spPr>
        <p:txBody>
          <a:bodyPr>
            <a:normAutofit/>
          </a:bodyPr>
          <a:lstStyle/>
          <a:p>
            <a:r>
              <a:rPr lang="ru-RU" sz="2400" dirty="0"/>
              <a:t>На </a:t>
            </a:r>
            <a:r>
              <a:rPr lang="ru-RU" sz="2400" dirty="0">
                <a:solidFill>
                  <a:schemeClr val="tx1"/>
                </a:solidFill>
              </a:rPr>
              <a:t>основании теоретических и экспериментальных исследований разработаны и аттестованы следующие методики измерений: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400" dirty="0">
                <a:solidFill>
                  <a:schemeClr val="tx1"/>
                </a:solidFill>
              </a:rPr>
              <a:t>М.265.002/RA.RU.311866/2024 «Методика измерений относительного удлинения после разрыва при статическом растяжении образцов сталей»</a:t>
            </a:r>
          </a:p>
          <a:p>
            <a:pPr marL="457200" indent="-457200">
              <a:buFont typeface="+mj-lt"/>
              <a:buAutoNum type="arabicPeriod"/>
            </a:pPr>
            <a:endParaRPr lang="ru-RU" sz="2400" dirty="0">
              <a:solidFill>
                <a:schemeClr val="tx1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sz="2400" dirty="0">
                <a:solidFill>
                  <a:schemeClr val="tx1"/>
                </a:solidFill>
              </a:rPr>
              <a:t>М.265.003/RA.RU.311866/2024 «Методика измерений относительного сужения площади поперечного сечения после разрыва при статическом растяжении образцов сталей»</a:t>
            </a:r>
          </a:p>
          <a:p>
            <a:pPr marL="457200" indent="-457200">
              <a:buFont typeface="+mj-lt"/>
              <a:buAutoNum type="arabicPeriod"/>
            </a:pPr>
            <a:endParaRPr lang="ru-RU" sz="2400" dirty="0">
              <a:solidFill>
                <a:schemeClr val="tx1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sz="2400" dirty="0">
                <a:solidFill>
                  <a:schemeClr val="tx1"/>
                </a:solidFill>
              </a:rPr>
              <a:t>М.265.004/RA.RU.311866/2024 «Методика измерений относительного удлинения после разрыва при статическом растяжении образцов сталей прямоугольного сечения (плоских)»</a:t>
            </a:r>
          </a:p>
          <a:p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255815B-AD1E-49D8-8E6F-989E26A7EBA1}" type="slidenum">
              <a:rPr lang="ru-RU" smtClean="0"/>
              <a:pPr>
                <a:defRPr/>
              </a:pPr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1531276"/>
      </p:ext>
    </p:extLst>
  </p:cSld>
  <p:clrMapOvr>
    <a:masterClrMapping/>
  </p:clrMapOvr>
  <p:transition spd="slow">
    <p:push dir="u"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0A6C633-1184-0BC7-B6B8-5532DA189BE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6743" t="13250" r="2739" b="23751"/>
          <a:stretch/>
        </p:blipFill>
        <p:spPr>
          <a:xfrm>
            <a:off x="3413412" y="4210159"/>
            <a:ext cx="2786984" cy="178106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8188F5A-80D3-48B4-88BD-795E435EB5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7534" y="264546"/>
            <a:ext cx="10891241" cy="368814"/>
          </a:xfrm>
        </p:spPr>
        <p:txBody>
          <a:bodyPr>
            <a:normAutofit fontScale="90000"/>
          </a:bodyPr>
          <a:lstStyle/>
          <a:p>
            <a:pPr algn="ctr"/>
            <a:r>
              <a:rPr lang="ru-RU" dirty="0"/>
              <a:t>Усовершенствовано метрологического обеспечения в области измерений  деформации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7D0801B0-3B55-5F71-D61D-EE379C306BFB}"/>
              </a:ext>
            </a:extLst>
          </p:cNvPr>
          <p:cNvSpPr/>
          <p:nvPr/>
        </p:nvSpPr>
        <p:spPr>
          <a:xfrm>
            <a:off x="4442349" y="830071"/>
            <a:ext cx="5112568" cy="310854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/>
            <a:r>
              <a:rPr lang="ru-RU" sz="1400" b="1" dirty="0"/>
              <a:t>ГПРМИ деформации поверхности упругодеформированной балки прямоугольного постоянного сечения, нагружаемой по схеме чистого изгиба </a:t>
            </a:r>
          </a:p>
          <a:p>
            <a:pPr marL="285750" indent="-285750" algn="just" eaLnBrk="1" hangingPunct="1">
              <a:buClr>
                <a:srgbClr val="004E6B"/>
              </a:buClr>
              <a:buFont typeface="Wingdings" panose="05000000000000000000" pitchFamily="2" charset="2"/>
              <a:buChar char="ü"/>
            </a:pPr>
            <a:r>
              <a:rPr lang="ru-RU" altLang="ru-RU" sz="1400" dirty="0"/>
              <a:t>Во время разработки ГПРМИ оформлен патент;</a:t>
            </a:r>
          </a:p>
          <a:p>
            <a:pPr marL="285750" indent="-285750" algn="just">
              <a:buClr>
                <a:srgbClr val="004E6B"/>
              </a:buClr>
              <a:buFont typeface="Wingdings" panose="05000000000000000000" pitchFamily="2" charset="2"/>
              <a:buChar char="ü"/>
            </a:pPr>
            <a:r>
              <a:rPr lang="ru-RU" altLang="ru-RU" sz="1400" dirty="0"/>
              <a:t>ГПРМИ аттестована ФГУП «УНИИМ» и у</a:t>
            </a:r>
            <a:r>
              <a:rPr lang="ru-RU" sz="1400" dirty="0"/>
              <a:t>тверждена приказом Росстандарта № 3402 от 27 декабря 2019 г., Рег.№ ФР.ПР1.27.2019.00010;</a:t>
            </a:r>
          </a:p>
          <a:p>
            <a:pPr marL="285750" indent="-285750" algn="just">
              <a:buClr>
                <a:srgbClr val="004E6B"/>
              </a:buClr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rgbClr val="000000"/>
                </a:solidFill>
              </a:rPr>
              <a:t>Исходный эталон а</a:t>
            </a:r>
            <a:r>
              <a:rPr lang="ru-RU" sz="1400" dirty="0"/>
              <a:t>ттестован институтом  и утвержден приказом </a:t>
            </a:r>
            <a:r>
              <a:rPr lang="ru-RU" sz="1400" dirty="0">
                <a:solidFill>
                  <a:srgbClr val="000000"/>
                </a:solidFill>
              </a:rPr>
              <a:t>Росстандарта</a:t>
            </a:r>
            <a:r>
              <a:rPr lang="ru-RU" sz="1400" dirty="0"/>
              <a:t> № 2231 от 08 октября 2021 г. Рег. </a:t>
            </a:r>
            <a:r>
              <a:rPr lang="ru-RU" sz="1400" dirty="0">
                <a:solidFill>
                  <a:srgbClr val="000000"/>
                </a:solidFill>
              </a:rPr>
              <a:t>№ </a:t>
            </a:r>
            <a:r>
              <a:rPr lang="en-US" sz="1400" dirty="0">
                <a:solidFill>
                  <a:srgbClr val="000000"/>
                </a:solidFill>
              </a:rPr>
              <a:t>3.1.ZZB.0402.2021</a:t>
            </a:r>
            <a:r>
              <a:rPr lang="ru-RU" sz="1400" i="0" u="none" strike="noStrike" baseline="0" dirty="0">
                <a:solidFill>
                  <a:srgbClr val="000000"/>
                </a:solidFill>
              </a:rPr>
              <a:t>;	</a:t>
            </a:r>
          </a:p>
          <a:p>
            <a:pPr marL="285750" indent="-285750" algn="just">
              <a:buClr>
                <a:srgbClr val="004E6B"/>
              </a:buClr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rgbClr val="000000"/>
                </a:solidFill>
              </a:rPr>
              <a:t>Утверждена локальная поверочная схема для средств измерений деформации, возглавляемая исходным эталоном, реализующим ГПРМИ.</a:t>
            </a:r>
            <a:endParaRPr lang="ru-RU" altLang="ru-RU" sz="1400" dirty="0"/>
          </a:p>
        </p:txBody>
      </p:sp>
      <p:graphicFrame>
        <p:nvGraphicFramePr>
          <p:cNvPr id="15" name="Схема 14">
            <a:extLst>
              <a:ext uri="{FF2B5EF4-FFF2-40B4-BE49-F238E27FC236}">
                <a16:creationId xmlns:a16="http://schemas.microsoft.com/office/drawing/2014/main" id="{C50BC12A-6673-85C9-F526-E1F5D0BDA5B5}"/>
              </a:ext>
            </a:extLst>
          </p:cNvPr>
          <p:cNvGraphicFramePr/>
          <p:nvPr/>
        </p:nvGraphicFramePr>
        <p:xfrm>
          <a:off x="297151" y="212971"/>
          <a:ext cx="5389668" cy="57616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E2545361-6ACC-1EE7-36FA-A8735B267DD9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20379" t="8603" r="13347" b="19932"/>
          <a:stretch/>
        </p:blipFill>
        <p:spPr>
          <a:xfrm>
            <a:off x="6414159" y="4210159"/>
            <a:ext cx="3669597" cy="178106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23AFFE9-3A8D-46DD-0BD7-B6A89BA11DC0}"/>
              </a:ext>
            </a:extLst>
          </p:cNvPr>
          <p:cNvPicPr>
            <a:picLocks noChangeAspect="1"/>
          </p:cNvPicPr>
          <p:nvPr/>
        </p:nvPicPr>
        <p:blipFill>
          <a:blip r:embed="rId11">
            <a:alphaModFix/>
          </a:blip>
          <a:stretch>
            <a:fillRect/>
          </a:stretch>
        </p:blipFill>
        <p:spPr>
          <a:xfrm>
            <a:off x="10306226" y="3799563"/>
            <a:ext cx="1569896" cy="22217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42AA6F1-D7A9-353A-D9B0-A181E24F765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306226" y="1324310"/>
            <a:ext cx="1602550" cy="219489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BA396011-0A8C-98A8-0F85-DAA45C834954}"/>
              </a:ext>
            </a:extLst>
          </p:cNvPr>
          <p:cNvSpPr txBox="1"/>
          <p:nvPr/>
        </p:nvSpPr>
        <p:spPr>
          <a:xfrm>
            <a:off x="1877619" y="2501558"/>
            <a:ext cx="14593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err="1">
                <a:solidFill>
                  <a:srgbClr val="004E6B"/>
                </a:solidFill>
              </a:rPr>
              <a:t>Актуаль-ность</a:t>
            </a:r>
            <a:endParaRPr lang="ru-RU" sz="1600" b="1" dirty="0">
              <a:solidFill>
                <a:srgbClr val="004E6B"/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1684EA60-9926-7427-F134-04A53C34F80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3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5875863"/>
      </p:ext>
    </p:extLst>
  </p:cSld>
  <p:clrMapOvr>
    <a:masterClrMapping/>
  </p:clrMapOvr>
  <p:transition spd="med"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CC7839-EFC8-A205-FD63-7DAFD4EBB6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898" y="167049"/>
            <a:ext cx="10759776" cy="597655"/>
          </a:xfrm>
        </p:spPr>
        <p:txBody>
          <a:bodyPr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Усовершенствовано метрологического обеспечения в области измерений больших масс </a:t>
            </a:r>
            <a:r>
              <a:rPr lang="ru-RU" sz="2000" b="1" spc="-1" dirty="0">
                <a:uFill>
                  <a:solidFill>
                    <a:srgbClr val="FFFFFF"/>
                  </a:solidFill>
                </a:u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Государственный эталон</a:t>
            </a:r>
            <a:r>
              <a:rPr lang="en-US" sz="2000" b="1" spc="-1" dirty="0">
                <a:uFill>
                  <a:solidFill>
                    <a:srgbClr val="FFFFFF"/>
                  </a:solidFill>
                </a:u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ru-RU" sz="2000" b="1" spc="-1" dirty="0">
                <a:uFill>
                  <a:solidFill>
                    <a:srgbClr val="FFFFFF"/>
                  </a:solidFill>
                </a:u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единицы массы 5 разряда</a:t>
            </a:r>
            <a:endParaRPr lang="ru-RU" sz="2000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846C49B-640F-28AC-F358-A38D4AD974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6227" y="869518"/>
            <a:ext cx="5086397" cy="5069017"/>
          </a:xfrm>
          <a:prstGeom prst="rect">
            <a:avLst/>
          </a:prstGeom>
        </p:spPr>
      </p:pic>
      <p:sp>
        <p:nvSpPr>
          <p:cNvPr id="6" name="TextShape 1">
            <a:extLst>
              <a:ext uri="{FF2B5EF4-FFF2-40B4-BE49-F238E27FC236}">
                <a16:creationId xmlns:a16="http://schemas.microsoft.com/office/drawing/2014/main" id="{7CB69053-D1CB-A032-A2B4-10C4C6CB37A1}"/>
              </a:ext>
            </a:extLst>
          </p:cNvPr>
          <p:cNvSpPr txBox="1"/>
          <p:nvPr/>
        </p:nvSpPr>
        <p:spPr>
          <a:xfrm>
            <a:off x="623392" y="1052736"/>
            <a:ext cx="5868130" cy="23008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indent="-342900" algn="just">
              <a:buClr>
                <a:srgbClr val="004E6B"/>
              </a:buClr>
              <a:buFont typeface="Wingdings" panose="05000000000000000000" pitchFamily="2" charset="2"/>
              <a:buChar char="§"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Эталон реализует альтернативный подход к поверке, калибровке и испытаниям в целях утверждения типа конвейерных весов и дозаторов непрерывного действия, что позволяет поверять сотни СИ, поверка которых ранее была невозможна.</a:t>
            </a:r>
          </a:p>
          <a:p>
            <a:pPr marL="342900" indent="-342900" algn="just">
              <a:buClr>
                <a:srgbClr val="004E6B"/>
              </a:buClr>
              <a:buFont typeface="Wingdings" panose="05000000000000000000" pitchFamily="2" charset="2"/>
              <a:buChar char="§"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Эталон аттестован, запатентован.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F6BE071-9ED4-8D7B-F108-7480D580A3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1624" y="3212976"/>
            <a:ext cx="2304256" cy="2987781"/>
          </a:xfrm>
          <a:prstGeom prst="rect">
            <a:avLst/>
          </a:prstGeom>
        </p:spPr>
      </p:pic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7CBE52D-9861-B8DC-151B-A111E365813F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3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4356352"/>
      </p:ext>
    </p:extLst>
  </p:cSld>
  <p:clrMapOvr>
    <a:masterClrMapping/>
  </p:clrMapOvr>
  <p:transition spd="med"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57FA7DE1-E8E1-4D5C-8564-6D62DDEA0B6D}"/>
              </a:ext>
            </a:extLst>
          </p:cNvPr>
          <p:cNvSpPr txBox="1"/>
          <p:nvPr/>
        </p:nvSpPr>
        <p:spPr>
          <a:xfrm>
            <a:off x="9863847" y="5064450"/>
            <a:ext cx="213680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+mj-lt"/>
              </a:rPr>
              <a:t>Сайт</a:t>
            </a:r>
          </a:p>
          <a:p>
            <a:r>
              <a:rPr lang="en-US" dirty="0">
                <a:solidFill>
                  <a:srgbClr val="002060"/>
                </a:solidFill>
              </a:rPr>
              <a:t>www.rmjournal.ru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429697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2135559" y="455435"/>
            <a:ext cx="9865097" cy="19774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tabLst>
                <a:tab pos="998538" algn="l"/>
              </a:tabLst>
            </a:pPr>
            <a:r>
              <a:rPr lang="ru-RU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Ежеквартальный рецензируемый научно-технический журнал, имеющий тематическую направленность.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tabLst>
                <a:tab pos="998538" algn="l"/>
              </a:tabLst>
            </a:pPr>
            <a:endParaRPr lang="ru-RU" sz="800" b="1" dirty="0">
              <a:solidFill>
                <a:srgbClr val="2F5496"/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tabLst>
                <a:tab pos="998538" algn="l"/>
              </a:tabLst>
            </a:pPr>
            <a:r>
              <a:rPr lang="ru-RU" sz="1600" b="1" dirty="0">
                <a:solidFill>
                  <a:srgbClr val="2F5496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Цель журнала</a:t>
            </a:r>
            <a:r>
              <a:rPr lang="ru-RU" sz="1600" dirty="0">
                <a:solidFill>
                  <a:srgbClr val="2F5496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ru-RU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– освещение материалов научных исследований по изысканию и применению физических и химических эффектов с целью создания и совершенствования существующих средств измерений высшей точности, методов измерений, а также освещение вопросов связанных с  тематикой стандартных образцов как средств передачи единицы величины, освещение  материалов нормативных документов и международных работ связанных с  тематикой  журнала и способствующих совершенствованию методической и нормативной базы в области метрологии и метрологического обеспечения.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207568" y="112533"/>
            <a:ext cx="972108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tabLst>
                <a:tab pos="998538" algn="l"/>
              </a:tabLst>
            </a:pPr>
            <a:r>
              <a:rPr lang="ru-RU" sz="2000" b="1" dirty="0">
                <a:solidFill>
                  <a:srgbClr val="002060"/>
                </a:solidFill>
                <a:latin typeface="Times New Roman" pitchFamily="18" charset="0"/>
                <a:ea typeface="等线 Light"/>
                <a:cs typeface="Times New Roman" pitchFamily="18" charset="0"/>
              </a:rPr>
              <a:t>Эталоны. Стандартные  образцы</a:t>
            </a:r>
            <a:endParaRPr lang="ru-RU" sz="20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135559" y="2431070"/>
            <a:ext cx="986509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tabLst>
                <a:tab pos="998538" algn="l"/>
              </a:tabLst>
            </a:pPr>
            <a:r>
              <a:rPr lang="ru-RU" sz="1600" b="1" dirty="0">
                <a:solidFill>
                  <a:srgbClr val="2F5496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Задачами журнала являются: </a:t>
            </a:r>
            <a:r>
              <a:rPr lang="ru-RU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убликация оригинальных научных работ по различным направлениям в  области метрологии и смежных наук, в соответствии с содержанием паспортов специальностей научных работников по следующей номенклатуре научных специальностей (</a:t>
            </a:r>
            <a:r>
              <a:rPr lang="ru-RU" sz="1600" b="1" dirty="0">
                <a:solidFill>
                  <a:srgbClr val="FF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еречень ВАК, категория  К1</a:t>
            </a:r>
            <a:r>
              <a:rPr lang="ru-RU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):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78586" y="3212976"/>
            <a:ext cx="11639723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tabLst>
                <a:tab pos="998538" algn="l"/>
              </a:tabLst>
            </a:pPr>
            <a:r>
              <a:rPr lang="ru-RU" sz="1600" dirty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2.2.4. Приборы и методы измерения; 2.2.8. Методы и приборы контроля и диагностики материалов, изделий, веществ и природной среды ; 2.2.10. Метрология и метрологическое обеспечение 2.2.12. Приборы, системы и изделия медицинского назначения</a:t>
            </a:r>
            <a:r>
              <a:rPr lang="ru-RU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. 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tabLst>
                <a:tab pos="998538" algn="l"/>
              </a:tabLst>
            </a:pPr>
            <a:endParaRPr lang="ru-RU" sz="8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tabLst>
                <a:tab pos="998538" algn="l"/>
              </a:tabLst>
            </a:pPr>
            <a:r>
              <a:rPr lang="ru-RU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оскольку важнейшей международной задачей на современном этапе является обеспечение единства измерений в различных странах, журнал ставит целью достижение этого единства посредством информационного обмена между учеными ведущих организаций. Таким образом, журнал способствует технологическому международному трансферу знаний в промышленность.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78587" y="4664341"/>
            <a:ext cx="9489822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tabLst>
                <a:tab pos="998538" algn="l"/>
              </a:tabLst>
            </a:pPr>
            <a:endParaRPr lang="ru-RU" sz="800" dirty="0">
              <a:solidFill>
                <a:prstClr val="black"/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tabLst>
                <a:tab pos="998538" algn="l"/>
              </a:tabLst>
            </a:pPr>
            <a:r>
              <a:rPr lang="ru-RU" sz="1600" dirty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Журнал размещаются в международных и российских базах цитирования и в открытых </a:t>
            </a:r>
            <a:r>
              <a:rPr lang="ru-RU" sz="1600" dirty="0" err="1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репозиториях</a:t>
            </a:r>
            <a:r>
              <a:rPr lang="ru-RU" sz="1600" dirty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, таких как:  </a:t>
            </a:r>
            <a:r>
              <a:rPr lang="ru-RU" sz="1600" b="1" dirty="0">
                <a:solidFill>
                  <a:srgbClr val="FF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Белый  список, </a:t>
            </a:r>
            <a:r>
              <a:rPr lang="ru-RU" sz="1600" b="1" dirty="0" err="1">
                <a:solidFill>
                  <a:srgbClr val="FF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Russian</a:t>
            </a:r>
            <a:r>
              <a:rPr lang="ru-RU" sz="1600" b="1" dirty="0">
                <a:solidFill>
                  <a:srgbClr val="FF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ru-RU" sz="1600" b="1" dirty="0" err="1">
                <a:solidFill>
                  <a:srgbClr val="FF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Science</a:t>
            </a:r>
            <a:r>
              <a:rPr lang="ru-RU" sz="1600" b="1" dirty="0">
                <a:solidFill>
                  <a:srgbClr val="FF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ru-RU" sz="1600" b="1" dirty="0" err="1">
                <a:solidFill>
                  <a:srgbClr val="FF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Citation</a:t>
            </a:r>
            <a:r>
              <a:rPr lang="ru-RU" sz="1600" b="1" dirty="0">
                <a:solidFill>
                  <a:srgbClr val="FF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ru-RU" sz="1600" b="1" dirty="0" err="1">
                <a:solidFill>
                  <a:srgbClr val="FF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Index</a:t>
            </a:r>
            <a:r>
              <a:rPr lang="ru-RU" sz="1600" dirty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; </a:t>
            </a:r>
            <a:r>
              <a:rPr lang="ru-RU" sz="1600" b="1" dirty="0">
                <a:solidFill>
                  <a:srgbClr val="FF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Ядро РИНЦ</a:t>
            </a:r>
            <a:r>
              <a:rPr lang="ru-RU" sz="1600" dirty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; научная электронная библиотека Elibrary.ru; Российская государственная библиотека; ресурс </a:t>
            </a:r>
            <a:r>
              <a:rPr lang="ru-RU" sz="1600" dirty="0" err="1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Google</a:t>
            </a:r>
            <a:r>
              <a:rPr lang="ru-RU" sz="1600" dirty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scholar</a:t>
            </a:r>
            <a:r>
              <a:rPr lang="ru-RU" sz="1600" dirty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; </a:t>
            </a:r>
            <a:r>
              <a:rPr lang="ru-RU" sz="1600" dirty="0" err="1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Техэксперт</a:t>
            </a:r>
            <a:r>
              <a:rPr lang="ru-RU" sz="1600" dirty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: Нормы, правила и стандарты РФ; электронная библиотека «</a:t>
            </a:r>
            <a:r>
              <a:rPr lang="ru-RU" sz="1600" dirty="0" err="1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КиберЛенинка</a:t>
            </a:r>
            <a:r>
              <a:rPr lang="ru-RU" sz="1600" dirty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»; научно-информационное простран­ство «</a:t>
            </a:r>
            <a:r>
              <a:rPr lang="ru-RU" sz="1600" dirty="0" err="1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Соционет</a:t>
            </a:r>
            <a:r>
              <a:rPr lang="ru-RU" sz="1600" dirty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» и др.</a:t>
            </a:r>
            <a:endParaRPr lang="ru-RU" sz="16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2EB97C98-0D4B-654D-FE87-17A42D246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255815B-AD1E-49D8-8E6F-989E26A7EBA1}" type="slidenum">
              <a:rPr lang="ru-RU" smtClean="0"/>
              <a:pPr>
                <a:defRPr/>
              </a:pPr>
              <a:t>38</a:t>
            </a:fld>
            <a:endParaRPr lang="ru-RU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713" y="458705"/>
            <a:ext cx="1877846" cy="2533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518631"/>
      </p:ext>
    </p:extLst>
  </p:cSld>
  <p:clrMapOvr>
    <a:masterClrMapping/>
  </p:clrMapOvr>
  <p:transition spd="slow">
    <p:push dir="u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8259059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911424" y="260648"/>
            <a:ext cx="10515600" cy="1325563"/>
          </a:xfrm>
        </p:spPr>
        <p:txBody>
          <a:bodyPr>
            <a:normAutofit/>
          </a:bodyPr>
          <a:lstStyle/>
          <a:p>
            <a:r>
              <a:rPr lang="ru-RU" sz="2400" b="1" dirty="0">
                <a:solidFill>
                  <a:srgbClr val="004E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утвержденных и продленных типов СО</a:t>
            </a:r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F3CAADFD-AA32-4703-9DF3-9A4B6D701F59}" type="slidenum">
              <a:rPr lang="ru-RU" sz="1400">
                <a:solidFill>
                  <a:srgbClr val="000000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ru-RU" sz="1400" dirty="0">
              <a:solidFill>
                <a:srgbClr val="000000"/>
              </a:solidFill>
            </a:endParaRPr>
          </a:p>
        </p:txBody>
      </p:sp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60801106"/>
              </p:ext>
            </p:extLst>
          </p:nvPr>
        </p:nvGraphicFramePr>
        <p:xfrm>
          <a:off x="1775520" y="980728"/>
          <a:ext cx="8856984" cy="4680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738351591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27131" y="457706"/>
            <a:ext cx="10226204" cy="368814"/>
          </a:xfrm>
        </p:spPr>
        <p:txBody>
          <a:bodyPr>
            <a:normAutofit fontScale="90000"/>
          </a:bodyPr>
          <a:lstStyle/>
          <a:p>
            <a:r>
              <a:rPr lang="ru-RU" sz="2400" b="1" dirty="0">
                <a:solidFill>
                  <a:srgbClr val="004E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твержденные типы стандартных образцов </a:t>
            </a:r>
            <a:br>
              <a:rPr lang="ru-RU" sz="2400" b="1" dirty="0">
                <a:solidFill>
                  <a:srgbClr val="004E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b="1" dirty="0">
                <a:solidFill>
                  <a:srgbClr val="004E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действующие типы СО на 27.01.2025 г.)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63352" y="5301208"/>
            <a:ext cx="3786549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действующих </a:t>
            </a:r>
            <a:r>
              <a:rPr lang="ru-RU" sz="3200" b="1" dirty="0">
                <a:solidFill>
                  <a:srgbClr val="C00000"/>
                </a:solidFill>
              </a:rPr>
              <a:t>4967</a:t>
            </a:r>
            <a:r>
              <a:rPr lang="ru-RU" dirty="0"/>
              <a:t> типов СО</a:t>
            </a:r>
          </a:p>
          <a:p>
            <a:r>
              <a:rPr lang="ru-RU" dirty="0"/>
              <a:t>общее количество </a:t>
            </a:r>
            <a:r>
              <a:rPr lang="ru-RU" sz="2800" b="1" dirty="0">
                <a:solidFill>
                  <a:srgbClr val="C00000"/>
                </a:solidFill>
              </a:rPr>
              <a:t>13494</a:t>
            </a:r>
            <a:r>
              <a:rPr lang="ru-RU" dirty="0"/>
              <a:t> типа СО</a:t>
            </a:r>
          </a:p>
        </p:txBody>
      </p:sp>
      <p:sp>
        <p:nvSpPr>
          <p:cNvPr id="7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F3CAADFD-AA32-4703-9DF3-9A4B6D701F59}" type="slidenum">
              <a:rPr lang="ru-RU" sz="1400">
                <a:solidFill>
                  <a:srgbClr val="000000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ru-RU" sz="1400" dirty="0">
              <a:solidFill>
                <a:srgbClr val="000000"/>
              </a:solidFill>
            </a:endParaRPr>
          </a:p>
        </p:txBody>
      </p:sp>
      <p:graphicFrame>
        <p:nvGraphicFramePr>
          <p:cNvPr id="6" name="Диаграмма 5"/>
          <p:cNvGraphicFramePr>
            <a:graphicFrameLocks/>
          </p:cNvGraphicFramePr>
          <p:nvPr/>
        </p:nvGraphicFramePr>
        <p:xfrm>
          <a:off x="1631504" y="1412776"/>
          <a:ext cx="8496944" cy="37444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425312654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83432" y="357756"/>
            <a:ext cx="8229600" cy="562074"/>
          </a:xfrm>
        </p:spPr>
        <p:txBody>
          <a:bodyPr>
            <a:normAutofit fontScale="90000"/>
          </a:bodyPr>
          <a:lstStyle/>
          <a:p>
            <a:r>
              <a:rPr lang="ru-RU" sz="2700" b="1" dirty="0">
                <a:solidFill>
                  <a:srgbClr val="004E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и - производители стандартных образцов</a:t>
            </a:r>
            <a:br>
              <a:rPr lang="ru-RU" b="1" dirty="0">
                <a:solidFill>
                  <a:srgbClr val="004E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>
                <a:solidFill>
                  <a:srgbClr val="004E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действующие типы СО на 27.01.2025 г.)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45299" y="5876987"/>
            <a:ext cx="40225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3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рганизаций - производителей СО </a:t>
            </a:r>
          </a:p>
        </p:txBody>
      </p:sp>
      <p:sp>
        <p:nvSpPr>
          <p:cNvPr id="7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F3CAADFD-AA32-4703-9DF3-9A4B6D701F59}" type="slidenum">
              <a:rPr lang="ru-RU" sz="1400">
                <a:solidFill>
                  <a:srgbClr val="000000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46996" y="5292212"/>
            <a:ext cx="335226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действующих </a:t>
            </a:r>
            <a:r>
              <a:rPr lang="ru-RU" sz="3200" b="1" dirty="0">
                <a:solidFill>
                  <a:srgbClr val="C00000"/>
                </a:solidFill>
              </a:rPr>
              <a:t>4967</a:t>
            </a:r>
            <a:r>
              <a:rPr lang="ru-RU" dirty="0"/>
              <a:t> типов СО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888089" y="5876987"/>
            <a:ext cx="50405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* Организации выпускающие менее 20 типов СО на графике не представлены</a:t>
            </a:r>
          </a:p>
        </p:txBody>
      </p:sp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83576105"/>
              </p:ext>
            </p:extLst>
          </p:nvPr>
        </p:nvGraphicFramePr>
        <p:xfrm>
          <a:off x="551384" y="981013"/>
          <a:ext cx="11089232" cy="4734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74475167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ChangeArrowheads="1"/>
          </p:cNvSpPr>
          <p:nvPr/>
        </p:nvSpPr>
        <p:spPr bwMode="auto">
          <a:xfrm>
            <a:off x="1524001" y="-184666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604" name="Rectangle 4"/>
          <p:cNvSpPr>
            <a:spLocks noChangeArrowheads="1"/>
          </p:cNvSpPr>
          <p:nvPr/>
        </p:nvSpPr>
        <p:spPr bwMode="auto">
          <a:xfrm>
            <a:off x="1524001" y="-184666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1"/>
          <p:cNvSpPr>
            <a:spLocks noGrp="1"/>
          </p:cNvSpPr>
          <p:nvPr>
            <p:ph type="sldNum" sz="quarter" idx="15"/>
          </p:nvPr>
        </p:nvSpPr>
        <p:spPr>
          <a:xfrm>
            <a:off x="9653016" y="5734050"/>
            <a:ext cx="609600" cy="521208"/>
          </a:xfrm>
          <a:noFill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0</a:t>
            </a:r>
          </a:p>
        </p:txBody>
      </p:sp>
      <p:sp>
        <p:nvSpPr>
          <p:cNvPr id="58372" name="Rectangle 4"/>
          <p:cNvSpPr>
            <a:spLocks noChangeArrowheads="1"/>
          </p:cNvSpPr>
          <p:nvPr/>
        </p:nvSpPr>
        <p:spPr bwMode="auto">
          <a:xfrm>
            <a:off x="1524001" y="-184666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07368" y="184666"/>
            <a:ext cx="11233248" cy="1228110"/>
          </a:xfrm>
        </p:spPr>
        <p:txBody>
          <a:bodyPr>
            <a:normAutofit fontScale="90000"/>
          </a:bodyPr>
          <a:lstStyle/>
          <a:p>
            <a:r>
              <a:rPr lang="ru-RU" altLang="ru-RU" sz="2700" b="1" dirty="0">
                <a:latin typeface="Times New Roman" panose="02020603050405020304" pitchFamily="18" charset="0"/>
                <a:ea typeface="Circe"/>
                <a:cs typeface="Times New Roman" panose="02020603050405020304" pitchFamily="18" charset="0"/>
              </a:rPr>
              <a:t>Общее количество действующих утвержденных типов СО состава и свойств веществ и материалов, зарегистрированных в Реестре утвержденных типов СО</a:t>
            </a:r>
            <a:br>
              <a:rPr lang="ru-RU" altLang="ru-RU" sz="2700" b="1" dirty="0">
                <a:latin typeface="Times New Roman" panose="02020603050405020304" pitchFamily="18" charset="0"/>
                <a:ea typeface="Circe"/>
                <a:cs typeface="Times New Roman" panose="02020603050405020304" pitchFamily="18" charset="0"/>
              </a:rPr>
            </a:br>
            <a:r>
              <a:rPr lang="ru-RU" altLang="ru-RU" sz="1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о состоянию на 27.01.2025 г.)</a:t>
            </a:r>
            <a:br>
              <a:rPr lang="ru-RU" altLang="ru-RU" sz="1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dirty="0"/>
              <a:t>действующих </a:t>
            </a:r>
            <a:r>
              <a:rPr lang="ru-RU" sz="4000" b="1" dirty="0">
                <a:solidFill>
                  <a:srgbClr val="C00000"/>
                </a:solidFill>
              </a:rPr>
              <a:t>4967</a:t>
            </a:r>
            <a:r>
              <a:rPr lang="ru-RU" sz="2400" dirty="0"/>
              <a:t> типов СО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07368" y="1588254"/>
            <a:ext cx="11233248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бщее количество действующих утвержденных типов СО в области нефтяной, нефтеперерабатывающей и газовой промышленности, зарегистрированных в Реестре утвержденных типов СО</a:t>
            </a:r>
            <a:b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r>
              <a:rPr lang="ru-RU" altLang="ru-RU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о состоянию на 27.01.2025 г.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122</a:t>
            </a: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типа СО</a:t>
            </a:r>
          </a:p>
        </p:txBody>
      </p:sp>
      <p:sp>
        <p:nvSpPr>
          <p:cNvPr id="10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3CAADFD-AA32-4703-9DF3-9A4B6D701F59}" type="slidenum"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12" name="Диаграмма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86086403"/>
              </p:ext>
            </p:extLst>
          </p:nvPr>
        </p:nvGraphicFramePr>
        <p:xfrm>
          <a:off x="2423592" y="2636912"/>
          <a:ext cx="7344816" cy="3719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779385663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714" name="Номер слайда 1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E01DC49A-B9B6-476E-9DFF-B7590C41CFF9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335360" y="105910"/>
            <a:ext cx="11377263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54492"/>
            <a:r>
              <a:rPr lang="ru-RU" altLang="ru-RU" sz="2400" b="1" dirty="0">
                <a:solidFill>
                  <a:srgbClr val="004E6B"/>
                </a:solidFill>
                <a:latin typeface="Times New Roman" panose="02020603050405020304" pitchFamily="18" charset="0"/>
                <a:ea typeface="Circe"/>
                <a:cs typeface="Times New Roman" panose="02020603050405020304" pitchFamily="18" charset="0"/>
                <a:sym typeface="Circe"/>
              </a:rPr>
              <a:t>Распределение по объекту измерений СО состава и свойств нефти и нефтепродуктов, СО состава газов и газовых смесей</a:t>
            </a:r>
          </a:p>
          <a:p>
            <a:r>
              <a:rPr lang="ru-RU" altLang="ru-RU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о состоянию на 27.01.2025 г.)</a:t>
            </a:r>
          </a:p>
        </p:txBody>
      </p:sp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36306696"/>
              </p:ext>
            </p:extLst>
          </p:nvPr>
        </p:nvGraphicFramePr>
        <p:xfrm>
          <a:off x="623392" y="1213906"/>
          <a:ext cx="10873208" cy="53834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53998862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rrowheads="1"/>
          </p:cNvSpPr>
          <p:nvPr>
            <p:ph type="body"/>
          </p:nvPr>
        </p:nvSpPr>
        <p:spPr>
          <a:xfrm>
            <a:off x="119336" y="188640"/>
            <a:ext cx="11881320" cy="936104"/>
          </a:xfrm>
        </p:spPr>
        <p:txBody>
          <a:bodyPr anchor="t">
            <a:normAutofit fontScale="25000" lnSpcReduction="20000"/>
          </a:bodyPr>
          <a:lstStyle/>
          <a:p>
            <a:pPr defTabSz="554492">
              <a:lnSpc>
                <a:spcPct val="120000"/>
              </a:lnSpc>
              <a:spcBef>
                <a:spcPts val="425"/>
              </a:spcBef>
              <a:tabLst>
                <a:tab pos="355600" algn="l"/>
                <a:tab pos="460375" algn="l"/>
                <a:tab pos="909638" algn="l"/>
                <a:tab pos="1358900" algn="l"/>
                <a:tab pos="1808163" algn="l"/>
                <a:tab pos="2257425" algn="l"/>
                <a:tab pos="2706688" algn="l"/>
                <a:tab pos="3155950" algn="l"/>
                <a:tab pos="3605213" algn="l"/>
                <a:tab pos="4054475" algn="l"/>
                <a:tab pos="4503738" algn="l"/>
                <a:tab pos="4953000" algn="l"/>
                <a:tab pos="5402263" algn="l"/>
                <a:tab pos="5851525" algn="l"/>
                <a:tab pos="6300788" algn="l"/>
                <a:tab pos="6750050" algn="l"/>
                <a:tab pos="7199313" algn="l"/>
                <a:tab pos="7648575" algn="l"/>
                <a:tab pos="8097838" algn="l"/>
                <a:tab pos="8547100" algn="l"/>
                <a:tab pos="8996363" algn="l"/>
              </a:tabLst>
              <a:defRPr/>
            </a:pPr>
            <a:r>
              <a:rPr lang="ru-RU" altLang="ru-RU" sz="9600" b="1" dirty="0">
                <a:latin typeface="Times New Roman" panose="02020603050405020304" pitchFamily="18" charset="0"/>
                <a:ea typeface="Circe"/>
                <a:cs typeface="Times New Roman" panose="02020603050405020304" pitchFamily="18" charset="0"/>
              </a:rPr>
              <a:t>Организации-производители выпускающие СО </a:t>
            </a:r>
          </a:p>
          <a:p>
            <a:pPr defTabSz="554492">
              <a:lnSpc>
                <a:spcPct val="120000"/>
              </a:lnSpc>
              <a:spcBef>
                <a:spcPts val="425"/>
              </a:spcBef>
              <a:tabLst>
                <a:tab pos="355600" algn="l"/>
                <a:tab pos="460375" algn="l"/>
                <a:tab pos="909638" algn="l"/>
                <a:tab pos="1358900" algn="l"/>
                <a:tab pos="1808163" algn="l"/>
                <a:tab pos="2257425" algn="l"/>
                <a:tab pos="2706688" algn="l"/>
                <a:tab pos="3155950" algn="l"/>
                <a:tab pos="3605213" algn="l"/>
                <a:tab pos="4054475" algn="l"/>
                <a:tab pos="4503738" algn="l"/>
                <a:tab pos="4953000" algn="l"/>
                <a:tab pos="5402263" algn="l"/>
                <a:tab pos="5851525" algn="l"/>
                <a:tab pos="6300788" algn="l"/>
                <a:tab pos="6750050" algn="l"/>
                <a:tab pos="7199313" algn="l"/>
                <a:tab pos="7648575" algn="l"/>
                <a:tab pos="8097838" algn="l"/>
                <a:tab pos="8547100" algn="l"/>
                <a:tab pos="8996363" algn="l"/>
              </a:tabLst>
              <a:defRPr/>
            </a:pPr>
            <a:r>
              <a:rPr lang="ru-RU" altLang="ru-RU" sz="9600" b="1" dirty="0">
                <a:latin typeface="Times New Roman" panose="02020603050405020304" pitchFamily="18" charset="0"/>
                <a:ea typeface="Circe"/>
                <a:cs typeface="Times New Roman" panose="02020603050405020304" pitchFamily="18" charset="0"/>
              </a:rPr>
              <a:t>для нефтяной и нефтеперерабатывающей промышленности </a:t>
            </a:r>
          </a:p>
          <a:p>
            <a:pPr marL="355600" algn="l">
              <a:lnSpc>
                <a:spcPct val="80000"/>
              </a:lnSpc>
              <a:spcBef>
                <a:spcPts val="425"/>
              </a:spcBef>
              <a:tabLst>
                <a:tab pos="355600" algn="l"/>
                <a:tab pos="460375" algn="l"/>
                <a:tab pos="909638" algn="l"/>
                <a:tab pos="1358900" algn="l"/>
                <a:tab pos="1808163" algn="l"/>
                <a:tab pos="2257425" algn="l"/>
                <a:tab pos="2706688" algn="l"/>
                <a:tab pos="3155950" algn="l"/>
                <a:tab pos="3605213" algn="l"/>
                <a:tab pos="4054475" algn="l"/>
                <a:tab pos="4503738" algn="l"/>
                <a:tab pos="4953000" algn="l"/>
                <a:tab pos="5402263" algn="l"/>
                <a:tab pos="5851525" algn="l"/>
                <a:tab pos="6300788" algn="l"/>
                <a:tab pos="6750050" algn="l"/>
                <a:tab pos="7199313" algn="l"/>
                <a:tab pos="7648575" algn="l"/>
                <a:tab pos="8097838" algn="l"/>
                <a:tab pos="8547100" algn="l"/>
                <a:tab pos="8996363" algn="l"/>
              </a:tabLst>
              <a:defRPr/>
            </a:pPr>
            <a:r>
              <a:rPr lang="ru-RU" altLang="ru-RU" sz="7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о состоянию на 27.01.2025 г.)</a:t>
            </a:r>
          </a:p>
          <a:p>
            <a:pPr marL="355600">
              <a:lnSpc>
                <a:spcPct val="80000"/>
              </a:lnSpc>
              <a:spcBef>
                <a:spcPts val="425"/>
              </a:spcBef>
              <a:tabLst>
                <a:tab pos="355600" algn="l"/>
                <a:tab pos="460375" algn="l"/>
                <a:tab pos="909638" algn="l"/>
                <a:tab pos="1358900" algn="l"/>
                <a:tab pos="1808163" algn="l"/>
                <a:tab pos="2257425" algn="l"/>
                <a:tab pos="2706688" algn="l"/>
                <a:tab pos="3155950" algn="l"/>
                <a:tab pos="3605213" algn="l"/>
                <a:tab pos="4054475" algn="l"/>
                <a:tab pos="4503738" algn="l"/>
                <a:tab pos="4953000" algn="l"/>
                <a:tab pos="5402263" algn="l"/>
                <a:tab pos="5851525" algn="l"/>
                <a:tab pos="6300788" algn="l"/>
                <a:tab pos="6750050" algn="l"/>
                <a:tab pos="7199313" algn="l"/>
                <a:tab pos="7648575" algn="l"/>
                <a:tab pos="8097838" algn="l"/>
                <a:tab pos="8547100" algn="l"/>
                <a:tab pos="8996363" algn="l"/>
              </a:tabLst>
              <a:defRPr/>
            </a:pPr>
            <a:endParaRPr lang="ru-RU" sz="3600" b="1" dirty="0">
              <a:solidFill>
                <a:srgbClr val="800000"/>
              </a:solidFill>
            </a:endParaRPr>
          </a:p>
          <a:p>
            <a:pPr marL="355600">
              <a:lnSpc>
                <a:spcPct val="80000"/>
              </a:lnSpc>
              <a:spcBef>
                <a:spcPts val="425"/>
              </a:spcBef>
              <a:tabLst>
                <a:tab pos="355600" algn="l"/>
                <a:tab pos="460375" algn="l"/>
                <a:tab pos="909638" algn="l"/>
                <a:tab pos="1358900" algn="l"/>
                <a:tab pos="1808163" algn="l"/>
                <a:tab pos="2257425" algn="l"/>
                <a:tab pos="2706688" algn="l"/>
                <a:tab pos="3155950" algn="l"/>
                <a:tab pos="3605213" algn="l"/>
                <a:tab pos="4054475" algn="l"/>
                <a:tab pos="4503738" algn="l"/>
                <a:tab pos="4953000" algn="l"/>
                <a:tab pos="5402263" algn="l"/>
                <a:tab pos="5851525" algn="l"/>
                <a:tab pos="6300788" algn="l"/>
                <a:tab pos="6750050" algn="l"/>
                <a:tab pos="7199313" algn="l"/>
                <a:tab pos="7648575" algn="l"/>
                <a:tab pos="8097838" algn="l"/>
                <a:tab pos="8547100" algn="l"/>
                <a:tab pos="8996363" algn="l"/>
              </a:tabLst>
              <a:defRPr/>
            </a:pPr>
            <a:endParaRPr lang="ru-RU" sz="3600" b="1" dirty="0">
              <a:solidFill>
                <a:srgbClr val="800000"/>
              </a:solidFill>
            </a:endParaRPr>
          </a:p>
          <a:p>
            <a:pPr marL="355600">
              <a:lnSpc>
                <a:spcPct val="80000"/>
              </a:lnSpc>
              <a:spcBef>
                <a:spcPts val="125"/>
              </a:spcBef>
              <a:tabLst>
                <a:tab pos="355600" algn="l"/>
                <a:tab pos="460375" algn="l"/>
                <a:tab pos="909638" algn="l"/>
                <a:tab pos="1358900" algn="l"/>
                <a:tab pos="1808163" algn="l"/>
                <a:tab pos="2257425" algn="l"/>
                <a:tab pos="2706688" algn="l"/>
                <a:tab pos="3155950" algn="l"/>
                <a:tab pos="3605213" algn="l"/>
                <a:tab pos="4054475" algn="l"/>
                <a:tab pos="4503738" algn="l"/>
                <a:tab pos="4953000" algn="l"/>
                <a:tab pos="5402263" algn="l"/>
                <a:tab pos="5851525" algn="l"/>
                <a:tab pos="6300788" algn="l"/>
                <a:tab pos="6750050" algn="l"/>
                <a:tab pos="7199313" algn="l"/>
                <a:tab pos="7648575" algn="l"/>
                <a:tab pos="8097838" algn="l"/>
                <a:tab pos="8547100" algn="l"/>
                <a:tab pos="8996363" algn="l"/>
              </a:tabLst>
              <a:defRPr/>
            </a:pPr>
            <a:endParaRPr lang="ru-RU" sz="3600" dirty="0">
              <a:solidFill>
                <a:srgbClr val="000036"/>
              </a:solidFill>
            </a:endParaRPr>
          </a:p>
          <a:p>
            <a:pPr marL="355600">
              <a:lnSpc>
                <a:spcPct val="80000"/>
              </a:lnSpc>
              <a:spcBef>
                <a:spcPts val="125"/>
              </a:spcBef>
              <a:tabLst>
                <a:tab pos="355600" algn="l"/>
                <a:tab pos="460375" algn="l"/>
                <a:tab pos="909638" algn="l"/>
                <a:tab pos="1358900" algn="l"/>
                <a:tab pos="1808163" algn="l"/>
                <a:tab pos="2257425" algn="l"/>
                <a:tab pos="2706688" algn="l"/>
                <a:tab pos="3155950" algn="l"/>
                <a:tab pos="3605213" algn="l"/>
                <a:tab pos="4054475" algn="l"/>
                <a:tab pos="4503738" algn="l"/>
                <a:tab pos="4953000" algn="l"/>
                <a:tab pos="5402263" algn="l"/>
                <a:tab pos="5851525" algn="l"/>
                <a:tab pos="6300788" algn="l"/>
                <a:tab pos="6750050" algn="l"/>
                <a:tab pos="7199313" algn="l"/>
                <a:tab pos="7648575" algn="l"/>
                <a:tab pos="8097838" algn="l"/>
                <a:tab pos="8547100" algn="l"/>
                <a:tab pos="8996363" algn="l"/>
              </a:tabLst>
              <a:defRPr/>
            </a:pPr>
            <a:endParaRPr lang="ru-RU" sz="3600" dirty="0"/>
          </a:p>
          <a:p>
            <a:pPr marL="355600" algn="l">
              <a:lnSpc>
                <a:spcPct val="80000"/>
              </a:lnSpc>
              <a:spcBef>
                <a:spcPts val="500"/>
              </a:spcBef>
              <a:tabLst>
                <a:tab pos="355600" algn="l"/>
                <a:tab pos="460375" algn="l"/>
                <a:tab pos="909638" algn="l"/>
                <a:tab pos="1358900" algn="l"/>
                <a:tab pos="1808163" algn="l"/>
                <a:tab pos="2257425" algn="l"/>
                <a:tab pos="2706688" algn="l"/>
                <a:tab pos="3155950" algn="l"/>
                <a:tab pos="3605213" algn="l"/>
                <a:tab pos="4054475" algn="l"/>
                <a:tab pos="4503738" algn="l"/>
                <a:tab pos="4953000" algn="l"/>
                <a:tab pos="5402263" algn="l"/>
                <a:tab pos="5851525" algn="l"/>
                <a:tab pos="6300788" algn="l"/>
                <a:tab pos="6750050" algn="l"/>
                <a:tab pos="7199313" algn="l"/>
                <a:tab pos="7648575" algn="l"/>
                <a:tab pos="8097838" algn="l"/>
                <a:tab pos="8547100" algn="l"/>
                <a:tab pos="8996363" algn="l"/>
              </a:tabLst>
              <a:defRPr/>
            </a:pPr>
            <a:endParaRPr lang="ru-RU" sz="3600" dirty="0">
              <a:latin typeface="Times New Roman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3D28DA4-36EA-4324-8A52-F00EB28451DB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21635569"/>
              </p:ext>
            </p:extLst>
          </p:nvPr>
        </p:nvGraphicFramePr>
        <p:xfrm>
          <a:off x="551384" y="1340768"/>
          <a:ext cx="11305256" cy="50155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7343210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BDnqS4D8btWY9jWb5sg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tq71VQzNWwBxpeciBde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C9uxwhMr1L_1nY1aBpZ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sv5W82sIJ5WRU1ERzT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rdASPuswY2Ab.3D51p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_MOjVJnYMW73f0l04t8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_2.6fyFkkrrtBvwp2nk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GGMkPi7nmNnoJiMralI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sxvToCAMICLdVmGUokj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zH2vLlALtjwonX5AmKc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gimKfvYQz_1fXTNLr6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JeEOB022g_5qvYPu4R7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DvBA5CfHEWpfpCeDaED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VLOYsZTsjNBkOc29UZu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isrESVJe5jCIdcP4Cc3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uwzre2QT_JcDnDWEts1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ttO2BfhkWfutgZb8BhA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Ftt4uTVTwydzUM1b_Ho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bM3H7jgh90dOOV5LUPX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CN8i0yLfgxTs1s54_Yi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TD1Icxo_8f370mRa1s7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0H_AETgPv2vIhXYWIe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XZFmw_C5Y8Q744uqeO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G4ZMLM1YO0Nm2cIBddx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c3j_mAGVzyP3.FQW68F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rWu.pS7Jcs.0XhPQ9Kz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lnoCic0BJz01F01OSdB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P3rnw6Q.jGM7HUPq3Xw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GntGeQhnCieNwJt06MI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YUr6C.zcJTf2oCkPK8V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DRqIP.mO7vMcFHcZF83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z0Fnh.s0wvGPnjNY0GS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EvbLBmh1t5PfEKcs5Q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fcDJ9Hz2RIy5FllBoDQ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d9jySud6c8.9Kp06UxJ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FLO7HbHG7SybBpJ_z_C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kpRsaQSfs9Po_SkaL7d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JY8LlHE0iDG0ITRX0tL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vUDjW8d7W741q8bpAr3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hptvrRsKi_osANMtcsN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juVMsPgv7U0sUmRWHij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I3NXwo696u_SBtne1Pd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7wzglh2MG.CyLL6sVq3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M9dm84nhawGqCQa_2w6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TWkUPfkhVKsctUK.W2n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2JcueNvmQdXsKQHnDU5n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bIyoO_LFCICBtS5Pooo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ZM.36pOEt16nu1HN_6G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FyK1Qo8xoRBJPIwc4OW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qk6zeXOktUL80tiulGT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8IbEUXncodjr.Jn7jZC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DlMKzrliiOq78tssbDP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DlMKzrliiOq78tssbD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VMbUgiP38_W2JhYuHy7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DlMKzrliiOq78tssbDP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cvlR6_pu_ca9J_O7hL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lsO.YRPtiUeuTY4_aKC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SQ5Ah0qEIGayOAp4Ktq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Office Theme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8524</TotalTime>
  <Words>5206</Words>
  <Application>Microsoft Office PowerPoint</Application>
  <PresentationFormat>Широкоэкранный</PresentationFormat>
  <Paragraphs>699</Paragraphs>
  <Slides>39</Slides>
  <Notes>18</Notes>
  <HiddenSlides>2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9</vt:i4>
      </vt:variant>
    </vt:vector>
  </HeadingPairs>
  <TitlesOfParts>
    <vt:vector size="53" baseType="lpstr">
      <vt:lpstr>Calibri Light</vt:lpstr>
      <vt:lpstr>Circe Light</vt:lpstr>
      <vt:lpstr>Circe</vt:lpstr>
      <vt:lpstr>PT Serif</vt:lpstr>
      <vt:lpstr>Circe Bold</vt:lpstr>
      <vt:lpstr>Calibri</vt:lpstr>
      <vt:lpstr>Arial Narrow</vt:lpstr>
      <vt:lpstr>Arial</vt:lpstr>
      <vt:lpstr>Helvetica</vt:lpstr>
      <vt:lpstr>Times New Roman</vt:lpstr>
      <vt:lpstr>Wingdings</vt:lpstr>
      <vt:lpstr>Тема Office</vt:lpstr>
      <vt:lpstr>Office Theme</vt:lpstr>
      <vt:lpstr>Слайд think-cell</vt:lpstr>
      <vt:lpstr>Деятельность НМЦ ГССО и перспективы развития эталонной базы филиала УНИИМ</vt:lpstr>
      <vt:lpstr>Презентация PowerPoint</vt:lpstr>
      <vt:lpstr>Динамика создания и утверждения новых типов СО с начала ведения  Реестра утвержденных типов стандартных образцов  </vt:lpstr>
      <vt:lpstr>Количество утвержденных и продленных типов СО</vt:lpstr>
      <vt:lpstr>Утвержденные типы стандартных образцов  (действующие типы СО на 27.01.2025 г.)</vt:lpstr>
      <vt:lpstr>Организации - производители стандартных образцов (действующие типы СО на 27.01.2025 г.)</vt:lpstr>
      <vt:lpstr>Общее количество действующих утвержденных типов СО состава и свойств веществ и материалов, зарегистрированных в Реестре утвержденных типов СО (по состоянию на 27.01.2025 г.) действующих 4967 типов СО</vt:lpstr>
      <vt:lpstr>Презентация PowerPoint</vt:lpstr>
      <vt:lpstr>Презентация PowerPoint</vt:lpstr>
      <vt:lpstr> Организации-производители выпускающие СО  для газодобывающей и газоперерабатывающей промышленности  (по состоянию на 27.01.2025 г.)</vt:lpstr>
      <vt:lpstr>Презентация PowerPoint</vt:lpstr>
      <vt:lpstr>Распределение по способу аттестации СО  для газодобывающей и газоперерабатывающей промышленности (по состоянию на 27.01.2025 г.)</vt:lpstr>
      <vt:lpstr>СО утвержденные в 2024 г для области применения  нефтяная и нефтеперерабатывающая промышленность</vt:lpstr>
      <vt:lpstr>СО утвержденные в 2024 г для области применения  нефтяная и нефтеперерабатывающая промышленность</vt:lpstr>
      <vt:lpstr>СО утвержденные в 2024 г для области применения  газовая промышленность</vt:lpstr>
      <vt:lpstr>Презентация PowerPoint</vt:lpstr>
      <vt:lpstr>Сведения  о работах в области стандартизации</vt:lpstr>
      <vt:lpstr>Презентация PowerPoint</vt:lpstr>
      <vt:lpstr>Презентация PowerPoint</vt:lpstr>
      <vt:lpstr>Презентация PowerPoint</vt:lpstr>
      <vt:lpstr>Сведения об аккредитации и признании СМК филиала </vt:lpstr>
      <vt:lpstr>Эталонная база</vt:lpstr>
      <vt:lpstr>Эталонная база филиала УНИИМ</vt:lpstr>
      <vt:lpstr>Научное развитие филиала. Совершенствование эталонной базы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жидаемые результаты совершенствования ГЭТ 173-2017</vt:lpstr>
      <vt:lpstr>Разработка ГПРМИ</vt:lpstr>
      <vt:lpstr>Перечень разработанных новых методик измерений механических свойств металлов</vt:lpstr>
      <vt:lpstr>Усовершенствовано метрологического обеспечения в области измерений  деформации</vt:lpstr>
      <vt:lpstr>Усовершенствовано метрологического обеспечения в области измерений больших масс Государственный эталон единицы массы 5 разряда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Собина Егор Павлович</cp:lastModifiedBy>
  <cp:revision>735</cp:revision>
  <cp:lastPrinted>2016-10-25T17:39:39Z</cp:lastPrinted>
  <dcterms:created xsi:type="dcterms:W3CDTF">2011-11-29T04:38:10Z</dcterms:created>
  <dcterms:modified xsi:type="dcterms:W3CDTF">2025-02-10T10:35:45Z</dcterms:modified>
</cp:coreProperties>
</file>